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heme/themeOverride1.xml" ContentType="application/vnd.openxmlformats-officedocument.themeOverride+xml"/>
  <Override PartName="/ppt/charts/chart34.xml" ContentType="application/vnd.openxmlformats-officedocument.drawingml.chart+xml"/>
  <Override PartName="/ppt/theme/themeOverride2.xml" ContentType="application/vnd.openxmlformats-officedocument.themeOverride+xml"/>
  <Override PartName="/ppt/charts/chart35.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6.xml" ContentType="application/vnd.openxmlformats-officedocument.drawingml.chart+xml"/>
  <Override PartName="/ppt/theme/themeOverride3.xml" ContentType="application/vnd.openxmlformats-officedocument.themeOverride+xml"/>
  <Override PartName="/ppt/charts/chart37.xml" ContentType="application/vnd.openxmlformats-officedocument.drawingml.chart+xml"/>
  <Override PartName="/ppt/theme/themeOverride4.xml" ContentType="application/vnd.openxmlformats-officedocument.themeOverride+xml"/>
  <Override PartName="/ppt/charts/chart3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9.xml" ContentType="application/vnd.openxmlformats-officedocument.drawingml.chart+xml"/>
  <Override PartName="/ppt/theme/themeOverride5.xml" ContentType="application/vnd.openxmlformats-officedocument.themeOverride+xml"/>
  <Override PartName="/ppt/charts/chart40.xml" ContentType="application/vnd.openxmlformats-officedocument.drawingml.chart+xml"/>
  <Override PartName="/ppt/theme/themeOverride6.xml" ContentType="application/vnd.openxmlformats-officedocument.themeOverride+xml"/>
  <Override PartName="/ppt/charts/chart41.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42.xml" ContentType="application/vnd.openxmlformats-officedocument.drawingml.chart+xml"/>
  <Override PartName="/ppt/theme/themeOverride7.xml" ContentType="application/vnd.openxmlformats-officedocument.themeOverride+xml"/>
  <Override PartName="/ppt/charts/chart43.xml" ContentType="application/vnd.openxmlformats-officedocument.drawingml.chart+xml"/>
  <Override PartName="/ppt/theme/themeOverride8.xml" ContentType="application/vnd.openxmlformats-officedocument.themeOverride+xml"/>
  <Override PartName="/ppt/charts/chart44.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tags/tag65.xml" ContentType="application/vnd.openxmlformats-officedocument.presentationml.tags+xml"/>
  <Override PartName="/ppt/notesSlides/notesSlide38.xml" ContentType="application/vnd.openxmlformats-officedocument.presentationml.notesSlide+xml"/>
  <Override PartName="/ppt/tags/tag66.xml" ContentType="application/vnd.openxmlformats-officedocument.presentationml.tags+xml"/>
  <Override PartName="/ppt/notesSlides/notesSlide39.xml" ContentType="application/vnd.openxmlformats-officedocument.presentationml.notesSlide+xml"/>
  <Override PartName="/ppt/tags/tag67.xml" ContentType="application/vnd.openxmlformats-officedocument.presentationml.tags+xml"/>
  <Override PartName="/ppt/notesSlides/notesSlide40.xml" ContentType="application/vnd.openxmlformats-officedocument.presentationml.notesSlide+xml"/>
  <Override PartName="/ppt/tags/tag68.xml" ContentType="application/vnd.openxmlformats-officedocument.presentationml.tags+xml"/>
  <Override PartName="/ppt/notesSlides/notesSlide41.xml" ContentType="application/vnd.openxmlformats-officedocument.presentationml.notesSlide+xml"/>
  <Override PartName="/ppt/tags/tag69.xml" ContentType="application/vnd.openxmlformats-officedocument.presentationml.tags+xml"/>
  <Override PartName="/ppt/notesSlides/notesSlide42.xml" ContentType="application/vnd.openxmlformats-officedocument.presentationml.notesSlide+xml"/>
  <Override PartName="/ppt/tags/tag70.xml" ContentType="application/vnd.openxmlformats-officedocument.presentationml.tags+xml"/>
  <Override PartName="/ppt/notesSlides/notesSlide43.xml" ContentType="application/vnd.openxmlformats-officedocument.presentationml.notesSlide+xml"/>
  <Override PartName="/ppt/tags/tag71.xml" ContentType="application/vnd.openxmlformats-officedocument.presentationml.tags+xml"/>
  <Override PartName="/ppt/notesSlides/notesSlide44.xml" ContentType="application/vnd.openxmlformats-officedocument.presentationml.notesSlide+xml"/>
  <Override PartName="/ppt/tags/tag72.xml" ContentType="application/vnd.openxmlformats-officedocument.presentationml.tags+xml"/>
  <Override PartName="/ppt/notesSlides/notesSlide45.xml" ContentType="application/vnd.openxmlformats-officedocument.presentationml.notesSlide+xml"/>
  <Override PartName="/ppt/tags/tag73.xml" ContentType="application/vnd.openxmlformats-officedocument.presentationml.tags+xml"/>
  <Override PartName="/ppt/notesSlides/notesSlide46.xml" ContentType="application/vnd.openxmlformats-officedocument.presentationml.notesSlide+xml"/>
  <Override PartName="/ppt/tags/tag74.xml" ContentType="application/vnd.openxmlformats-officedocument.presentationml.tags+xml"/>
  <Override PartName="/ppt/notesSlides/notesSlide47.xml" ContentType="application/vnd.openxmlformats-officedocument.presentationml.notesSlide+xml"/>
  <Override PartName="/ppt/tags/tag75.xml" ContentType="application/vnd.openxmlformats-officedocument.presentationml.tags+xml"/>
  <Override PartName="/ppt/notesSlides/notesSlide48.xml" ContentType="application/vnd.openxmlformats-officedocument.presentationml.notesSlide+xml"/>
  <Override PartName="/ppt/tags/tag76.xml" ContentType="application/vnd.openxmlformats-officedocument.presentationml.tags+xml"/>
  <Override PartName="/ppt/notesSlides/notesSlide49.xml" ContentType="application/vnd.openxmlformats-officedocument.presentationml.notesSlide+xml"/>
  <Override PartName="/ppt/tags/tag77.xml" ContentType="application/vnd.openxmlformats-officedocument.presentationml.tags+xml"/>
  <Override PartName="/ppt/notesSlides/notesSlide50.xml" ContentType="application/vnd.openxmlformats-officedocument.presentationml.notesSlide+xml"/>
  <Override PartName="/ppt/tags/tag78.xml" ContentType="application/vnd.openxmlformats-officedocument.presentationml.tags+xml"/>
  <Override PartName="/ppt/notesSlides/notesSlide51.xml" ContentType="application/vnd.openxmlformats-officedocument.presentationml.notesSlide+xml"/>
  <Override PartName="/ppt/tags/tag79.xml" ContentType="application/vnd.openxmlformats-officedocument.presentationml.tags+xml"/>
  <Override PartName="/ppt/notesSlides/notesSlide52.xml" ContentType="application/vnd.openxmlformats-officedocument.presentationml.notesSlide+xml"/>
  <Override PartName="/ppt/tags/tag80.xml" ContentType="application/vnd.openxmlformats-officedocument.presentationml.tags+xml"/>
  <Override PartName="/ppt/notesSlides/notesSlide53.xml" ContentType="application/vnd.openxmlformats-officedocument.presentationml.notesSlide+xml"/>
  <Override PartName="/ppt/tags/tag81.xml" ContentType="application/vnd.openxmlformats-officedocument.presentationml.tags+xml"/>
  <Override PartName="/ppt/notesSlides/notesSlide54.xml" ContentType="application/vnd.openxmlformats-officedocument.presentationml.notesSlide+xml"/>
  <Override PartName="/ppt/tags/tag82.xml" ContentType="application/vnd.openxmlformats-officedocument.presentationml.tags+xml"/>
  <Override PartName="/ppt/notesSlides/notesSlide55.xml" ContentType="application/vnd.openxmlformats-officedocument.presentationml.notesSlide+xml"/>
  <Override PartName="/ppt/tags/tag83.xml" ContentType="application/vnd.openxmlformats-officedocument.presentationml.tags+xml"/>
  <Override PartName="/ppt/notesSlides/notesSlide56.xml" ContentType="application/vnd.openxmlformats-officedocument.presentationml.notesSlide+xml"/>
  <Override PartName="/ppt/tags/tag84.xml" ContentType="application/vnd.openxmlformats-officedocument.presentationml.tags+xml"/>
  <Override PartName="/ppt/notesSlides/notesSlide57.xml" ContentType="application/vnd.openxmlformats-officedocument.presentationml.notesSlide+xml"/>
  <Override PartName="/ppt/tags/tag85.xml" ContentType="application/vnd.openxmlformats-officedocument.presentationml.tags+xml"/>
  <Override PartName="/ppt/notesSlides/notesSlide58.xml" ContentType="application/vnd.openxmlformats-officedocument.presentationml.notesSlide+xml"/>
  <Override PartName="/ppt/tags/tag86.xml" ContentType="application/vnd.openxmlformats-officedocument.presentationml.tags+xml"/>
  <Override PartName="/ppt/notesSlides/notesSlide59.xml" ContentType="application/vnd.openxmlformats-officedocument.presentationml.notesSlide+xml"/>
  <Override PartName="/ppt/tags/tag87.xml" ContentType="application/vnd.openxmlformats-officedocument.presentationml.tags+xml"/>
  <Override PartName="/ppt/notesSlides/notesSlide60.xml" ContentType="application/vnd.openxmlformats-officedocument.presentationml.notesSlide+xml"/>
  <Override PartName="/ppt/tags/tag88.xml" ContentType="application/vnd.openxmlformats-officedocument.presentationml.tags+xml"/>
  <Override PartName="/ppt/notesSlides/notesSlide61.xml" ContentType="application/vnd.openxmlformats-officedocument.presentationml.notesSlide+xml"/>
  <Override PartName="/ppt/tags/tag89.xml" ContentType="application/vnd.openxmlformats-officedocument.presentationml.tags+xml"/>
  <Override PartName="/ppt/notesSlides/notesSlide62.xml" ContentType="application/vnd.openxmlformats-officedocument.presentationml.notesSlide+xml"/>
  <Override PartName="/ppt/tags/tag90.xml" ContentType="application/vnd.openxmlformats-officedocument.presentationml.tags+xml"/>
  <Override PartName="/ppt/notesSlides/notesSlide63.xml" ContentType="application/vnd.openxmlformats-officedocument.presentationml.notesSlide+xml"/>
  <Override PartName="/ppt/tags/tag91.xml" ContentType="application/vnd.openxmlformats-officedocument.presentationml.tags+xml"/>
  <Override PartName="/ppt/notesSlides/notesSlide64.xml" ContentType="application/vnd.openxmlformats-officedocument.presentationml.notesSlide+xml"/>
  <Override PartName="/ppt/tags/tag92.xml" ContentType="application/vnd.openxmlformats-officedocument.presentationml.tags+xml"/>
  <Override PartName="/ppt/notesSlides/notesSlide65.xml" ContentType="application/vnd.openxmlformats-officedocument.presentationml.notesSlide+xml"/>
  <Override PartName="/ppt/tags/tag93.xml" ContentType="application/vnd.openxmlformats-officedocument.presentationml.tags+xml"/>
  <Override PartName="/ppt/notesSlides/notesSlide66.xml" ContentType="application/vnd.openxmlformats-officedocument.presentationml.notesSlide+xml"/>
  <Override PartName="/ppt/tags/tag94.xml" ContentType="application/vnd.openxmlformats-officedocument.presentationml.tags+xml"/>
  <Override PartName="/ppt/notesSlides/notesSlide67.xml" ContentType="application/vnd.openxmlformats-officedocument.presentationml.notesSlide+xml"/>
  <Override PartName="/ppt/tags/tag95.xml" ContentType="application/vnd.openxmlformats-officedocument.presentationml.tags+xml"/>
  <Override PartName="/ppt/notesSlides/notesSlide68.xml" ContentType="application/vnd.openxmlformats-officedocument.presentationml.notesSlide+xml"/>
  <Override PartName="/ppt/tags/tag96.xml" ContentType="application/vnd.openxmlformats-officedocument.presentationml.tags+xml"/>
  <Override PartName="/ppt/notesSlides/notesSlide69.xml" ContentType="application/vnd.openxmlformats-officedocument.presentationml.notesSlide+xml"/>
  <Override PartName="/ppt/tags/tag97.xml" ContentType="application/vnd.openxmlformats-officedocument.presentationml.tags+xml"/>
  <Override PartName="/ppt/notesSlides/notesSlide70.xml" ContentType="application/vnd.openxmlformats-officedocument.presentationml.notesSlide+xml"/>
  <Override PartName="/ppt/tags/tag98.xml" ContentType="application/vnd.openxmlformats-officedocument.presentationml.tags+xml"/>
  <Override PartName="/ppt/notesSlides/notesSlide71.xml" ContentType="application/vnd.openxmlformats-officedocument.presentationml.notesSlide+xml"/>
  <Override PartName="/ppt/tags/tag99.xml" ContentType="application/vnd.openxmlformats-officedocument.presentationml.tags+xml"/>
  <Override PartName="/ppt/notesSlides/notesSlide72.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45.xml" ContentType="application/vnd.openxmlformats-officedocument.drawingml.chart+xml"/>
  <Override PartName="/ppt/charts/style1.xml" ContentType="application/vnd.ms-office.chartstyle+xml"/>
  <Override PartName="/ppt/charts/colors1.xml" ContentType="application/vnd.ms-office.chartcolorstyle+xml"/>
  <Override PartName="/ppt/tags/tag107.xml" ContentType="application/vnd.openxmlformats-officedocument.presentationml.tags+xml"/>
  <Override PartName="/ppt/charts/chart46.xml" ContentType="application/vnd.openxmlformats-officedocument.drawingml.chart+xml"/>
  <Override PartName="/ppt/charts/style2.xml" ContentType="application/vnd.ms-office.chartstyle+xml"/>
  <Override PartName="/ppt/charts/colors2.xml" ContentType="application/vnd.ms-office.chartcolorstyle+xml"/>
  <Override PartName="/ppt/tags/tag108.xml" ContentType="application/vnd.openxmlformats-officedocument.presentationml.tags+xml"/>
  <Override PartName="/ppt/charts/chart47.xml" ContentType="application/vnd.openxmlformats-officedocument.drawingml.chart+xml"/>
  <Override PartName="/ppt/charts/style3.xml" ContentType="application/vnd.ms-office.chartstyle+xml"/>
  <Override PartName="/ppt/charts/colors3.xml" ContentType="application/vnd.ms-office.chartcolorstyle+xml"/>
  <Override PartName="/ppt/tags/tag109.xml" ContentType="application/vnd.openxmlformats-officedocument.presentationml.tags+xml"/>
  <Override PartName="/ppt/charts/chart48.xml" ContentType="application/vnd.openxmlformats-officedocument.drawingml.chart+xml"/>
  <Override PartName="/ppt/charts/style4.xml" ContentType="application/vnd.ms-office.chartstyle+xml"/>
  <Override PartName="/ppt/charts/colors4.xml" ContentType="application/vnd.ms-office.chartcolorstyle+xml"/>
  <Override PartName="/ppt/tags/tag110.xml" ContentType="application/vnd.openxmlformats-officedocument.presentationml.tags+xml"/>
  <Override PartName="/ppt/charts/chart49.xml" ContentType="application/vnd.openxmlformats-officedocument.drawingml.chart+xml"/>
  <Override PartName="/ppt/charts/style5.xml" ContentType="application/vnd.ms-office.chartstyle+xml"/>
  <Override PartName="/ppt/charts/colors5.xml" ContentType="application/vnd.ms-office.chartcolorstyle+xml"/>
  <Override PartName="/ppt/tags/tag111.xml" ContentType="application/vnd.openxmlformats-officedocument.presentationml.tags+xml"/>
  <Override PartName="/ppt/charts/chart50.xml" ContentType="application/vnd.openxmlformats-officedocument.drawingml.chart+xml"/>
  <Override PartName="/ppt/charts/style6.xml" ContentType="application/vnd.ms-office.chartstyle+xml"/>
  <Override PartName="/ppt/charts/colors6.xml" ContentType="application/vnd.ms-office.chartcolorstyle+xml"/>
  <Override PartName="/ppt/tags/tag112.xml" ContentType="application/vnd.openxmlformats-officedocument.presentationml.tags+xml"/>
  <Override PartName="/ppt/charts/chart51.xml" ContentType="application/vnd.openxmlformats-officedocument.drawingml.chart+xml"/>
  <Override PartName="/ppt/charts/style7.xml" ContentType="application/vnd.ms-office.chartstyle+xml"/>
  <Override PartName="/ppt/charts/colors7.xml" ContentType="application/vnd.ms-office.chartcolorstyle+xml"/>
  <Override PartName="/ppt/tags/tag113.xml" ContentType="application/vnd.openxmlformats-officedocument.presentationml.tags+xml"/>
  <Override PartName="/ppt/charts/chart52.xml" ContentType="application/vnd.openxmlformats-officedocument.drawingml.chart+xml"/>
  <Override PartName="/ppt/charts/style8.xml" ContentType="application/vnd.ms-office.chartstyle+xml"/>
  <Override PartName="/ppt/charts/colors8.xml" ContentType="application/vnd.ms-office.chartcolorstyle+xml"/>
  <Override PartName="/ppt/tags/tag114.xml" ContentType="application/vnd.openxmlformats-officedocument.presentationml.tags+xml"/>
  <Override PartName="/ppt/charts/chart53.xml" ContentType="application/vnd.openxmlformats-officedocument.drawingml.chart+xml"/>
  <Override PartName="/ppt/charts/style9.xml" ContentType="application/vnd.ms-office.chartstyle+xml"/>
  <Override PartName="/ppt/charts/colors9.xml" ContentType="application/vnd.ms-office.chartcolorstyle+xml"/>
  <Override PartName="/ppt/tags/tag115.xml" ContentType="application/vnd.openxmlformats-officedocument.presentationml.tags+xml"/>
  <Override PartName="/ppt/charts/chart54.xml" ContentType="application/vnd.openxmlformats-officedocument.drawingml.chart+xml"/>
  <Override PartName="/ppt/charts/style10.xml" ContentType="application/vnd.ms-office.chartstyle+xml"/>
  <Override PartName="/ppt/charts/colors10.xml" ContentType="application/vnd.ms-office.chartcolorstyle+xml"/>
  <Override PartName="/ppt/tags/tag116.xml" ContentType="application/vnd.openxmlformats-officedocument.presentationml.tags+xml"/>
  <Override PartName="/ppt/charts/chart55.xml" ContentType="application/vnd.openxmlformats-officedocument.drawingml.chart+xml"/>
  <Override PartName="/ppt/charts/style11.xml" ContentType="application/vnd.ms-office.chartstyle+xml"/>
  <Override PartName="/ppt/charts/colors11.xml" ContentType="application/vnd.ms-office.chartcolorstyle+xml"/>
  <Override PartName="/ppt/tags/tag117.xml" ContentType="application/vnd.openxmlformats-officedocument.presentationml.tags+xml"/>
  <Override PartName="/ppt/charts/chart56.xml" ContentType="application/vnd.openxmlformats-officedocument.drawingml.chart+xml"/>
  <Override PartName="/ppt/charts/style12.xml" ContentType="application/vnd.ms-office.chartstyle+xml"/>
  <Override PartName="/ppt/charts/colors12.xml" ContentType="application/vnd.ms-office.chartcolorstyle+xml"/>
  <Override PartName="/ppt/tags/tag118.xml" ContentType="application/vnd.openxmlformats-officedocument.presentationml.tags+xml"/>
  <Override PartName="/ppt/charts/chart57.xml" ContentType="application/vnd.openxmlformats-officedocument.drawingml.chart+xml"/>
  <Override PartName="/ppt/charts/style13.xml" ContentType="application/vnd.ms-office.chartstyle+xml"/>
  <Override PartName="/ppt/charts/colors13.xml" ContentType="application/vnd.ms-office.chartcolorstyle+xml"/>
  <Override PartName="/ppt/tags/tag119.xml" ContentType="application/vnd.openxmlformats-officedocument.presentationml.tags+xml"/>
  <Override PartName="/ppt/charts/chart58.xml" ContentType="application/vnd.openxmlformats-officedocument.drawingml.chart+xml"/>
  <Override PartName="/ppt/charts/style14.xml" ContentType="application/vnd.ms-office.chartstyle+xml"/>
  <Override PartName="/ppt/charts/colors14.xml" ContentType="application/vnd.ms-office.chartcolorstyle+xml"/>
  <Override PartName="/ppt/tags/tag120.xml" ContentType="application/vnd.openxmlformats-officedocument.presentationml.tags+xml"/>
  <Override PartName="/ppt/charts/chart59.xml" ContentType="application/vnd.openxmlformats-officedocument.drawingml.chart+xml"/>
  <Override PartName="/ppt/charts/style15.xml" ContentType="application/vnd.ms-office.chartstyle+xml"/>
  <Override PartName="/ppt/charts/colors15.xml" ContentType="application/vnd.ms-office.chartcolorstyle+xml"/>
  <Override PartName="/ppt/tags/tag121.xml" ContentType="application/vnd.openxmlformats-officedocument.presentationml.tags+xml"/>
  <Override PartName="/ppt/charts/chart60.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charts/chart61.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charts/chart62.xml" ContentType="application/vnd.openxmlformats-officedocument.drawingml.chart+xml"/>
  <Override PartName="/ppt/charts/style18.xml" ContentType="application/vnd.ms-office.chartstyle+xml"/>
  <Override PartName="/ppt/charts/colors18.xml" ContentType="application/vnd.ms-office.chartcolorstyle+xml"/>
  <Override PartName="/ppt/tags/tag124.xml" ContentType="application/vnd.openxmlformats-officedocument.presentationml.tags+xml"/>
  <Override PartName="/ppt/charts/chart63.xml" ContentType="application/vnd.openxmlformats-officedocument.drawingml.chart+xml"/>
  <Override PartName="/ppt/charts/style19.xml" ContentType="application/vnd.ms-office.chartstyle+xml"/>
  <Override PartName="/ppt/charts/colors19.xml" ContentType="application/vnd.ms-office.chartcolorstyle+xml"/>
  <Override PartName="/ppt/tags/tag125.xml" ContentType="application/vnd.openxmlformats-officedocument.presentationml.tags+xml"/>
  <Override PartName="/ppt/charts/chart64.xml" ContentType="application/vnd.openxmlformats-officedocument.drawingml.chart+xml"/>
  <Override PartName="/ppt/charts/style20.xml" ContentType="application/vnd.ms-office.chartstyle+xml"/>
  <Override PartName="/ppt/charts/colors20.xml" ContentType="application/vnd.ms-office.chartcolorstyle+xml"/>
  <Override PartName="/ppt/tags/tag126.xml" ContentType="application/vnd.openxmlformats-officedocument.presentationml.tags+xml"/>
  <Override PartName="/ppt/charts/chart65.xml" ContentType="application/vnd.openxmlformats-officedocument.drawingml.chart+xml"/>
  <Override PartName="/ppt/charts/style21.xml" ContentType="application/vnd.ms-office.chartstyle+xml"/>
  <Override PartName="/ppt/charts/colors21.xml" ContentType="application/vnd.ms-office.chartcolorstyle+xml"/>
  <Override PartName="/ppt/tags/tag127.xml" ContentType="application/vnd.openxmlformats-officedocument.presentationml.tags+xml"/>
  <Override PartName="/ppt/charts/chart66.xml" ContentType="application/vnd.openxmlformats-officedocument.drawingml.chart+xml"/>
  <Override PartName="/ppt/charts/style22.xml" ContentType="application/vnd.ms-office.chartstyle+xml"/>
  <Override PartName="/ppt/charts/colors22.xml" ContentType="application/vnd.ms-office.chartcolorstyle+xml"/>
  <Override PartName="/ppt/tags/tag128.xml" ContentType="application/vnd.openxmlformats-officedocument.presentationml.tags+xml"/>
  <Override PartName="/ppt/charts/chart67.xml" ContentType="application/vnd.openxmlformats-officedocument.drawingml.chart+xml"/>
  <Override PartName="/ppt/charts/style23.xml" ContentType="application/vnd.ms-office.chartstyle+xml"/>
  <Override PartName="/ppt/charts/colors23.xml" ContentType="application/vnd.ms-office.chartcolorstyle+xml"/>
  <Override PartName="/ppt/tags/tag129.xml" ContentType="application/vnd.openxmlformats-officedocument.presentationml.tags+xml"/>
  <Override PartName="/ppt/charts/chart68.xml" ContentType="application/vnd.openxmlformats-officedocument.drawingml.chart+xml"/>
  <Override PartName="/ppt/charts/style24.xml" ContentType="application/vnd.ms-office.chartstyle+xml"/>
  <Override PartName="/ppt/charts/colors24.xml" ContentType="application/vnd.ms-office.chartcolorstyle+xml"/>
  <Override PartName="/ppt/tags/tag130.xml" ContentType="application/vnd.openxmlformats-officedocument.presentationml.tags+xml"/>
  <Override PartName="/ppt/charts/chart69.xml" ContentType="application/vnd.openxmlformats-officedocument.drawingml.chart+xml"/>
  <Override PartName="/ppt/charts/style25.xml" ContentType="application/vnd.ms-office.chartstyle+xml"/>
  <Override PartName="/ppt/charts/colors25.xml" ContentType="application/vnd.ms-office.chartcolorstyle+xml"/>
  <Override PartName="/ppt/tags/tag131.xml" ContentType="application/vnd.openxmlformats-officedocument.presentationml.tags+xml"/>
  <Override PartName="/ppt/charts/chart70.xml" ContentType="application/vnd.openxmlformats-officedocument.drawingml.chart+xml"/>
  <Override PartName="/ppt/charts/style26.xml" ContentType="application/vnd.ms-office.chartstyle+xml"/>
  <Override PartName="/ppt/charts/colors26.xml" ContentType="application/vnd.ms-office.chartcolorstyle+xml"/>
  <Override PartName="/ppt/tags/tag132.xml" ContentType="application/vnd.openxmlformats-officedocument.presentationml.tags+xml"/>
  <Override PartName="/ppt/charts/chart71.xml" ContentType="application/vnd.openxmlformats-officedocument.drawingml.chart+xml"/>
  <Override PartName="/ppt/charts/style27.xml" ContentType="application/vnd.ms-office.chartstyle+xml"/>
  <Override PartName="/ppt/charts/colors27.xml" ContentType="application/vnd.ms-office.chartcolorstyle+xml"/>
  <Override PartName="/ppt/tags/tag133.xml" ContentType="application/vnd.openxmlformats-officedocument.presentationml.tags+xml"/>
  <Override PartName="/ppt/charts/chart72.xml" ContentType="application/vnd.openxmlformats-officedocument.drawingml.chart+xml"/>
  <Override PartName="/ppt/charts/style28.xml" ContentType="application/vnd.ms-office.chartstyle+xml"/>
  <Override PartName="/ppt/charts/colors28.xml" ContentType="application/vnd.ms-office.chartcolorstyle+xml"/>
  <Override PartName="/ppt/tags/tag134.xml" ContentType="application/vnd.openxmlformats-officedocument.presentationml.tags+xml"/>
  <Override PartName="/ppt/charts/chart73.xml" ContentType="application/vnd.openxmlformats-officedocument.drawingml.chart+xml"/>
  <Override PartName="/ppt/charts/style29.xml" ContentType="application/vnd.ms-office.chartstyle+xml"/>
  <Override PartName="/ppt/charts/colors29.xml" ContentType="application/vnd.ms-office.chartcolorstyle+xml"/>
  <Override PartName="/ppt/tags/tag135.xml" ContentType="application/vnd.openxmlformats-officedocument.presentationml.tags+xml"/>
  <Override PartName="/ppt/charts/chart74.xml" ContentType="application/vnd.openxmlformats-officedocument.drawingml.chart+xml"/>
  <Override PartName="/ppt/charts/style30.xml" ContentType="application/vnd.ms-office.chartstyle+xml"/>
  <Override PartName="/ppt/charts/colors30.xml" ContentType="application/vnd.ms-office.chartcolorstyle+xml"/>
  <Override PartName="/ppt/tags/tag136.xml" ContentType="application/vnd.openxmlformats-officedocument.presentationml.tags+xml"/>
  <Override PartName="/ppt/charts/chart75.xml" ContentType="application/vnd.openxmlformats-officedocument.drawingml.chart+xml"/>
  <Override PartName="/ppt/charts/style31.xml" ContentType="application/vnd.ms-office.chartstyle+xml"/>
  <Override PartName="/ppt/charts/colors31.xml" ContentType="application/vnd.ms-office.chartcolorstyle+xml"/>
  <Override PartName="/ppt/tags/tag137.xml" ContentType="application/vnd.openxmlformats-officedocument.presentationml.tags+xml"/>
  <Override PartName="/ppt/charts/chart76.xml" ContentType="application/vnd.openxmlformats-officedocument.drawingml.chart+xml"/>
  <Override PartName="/ppt/charts/style32.xml" ContentType="application/vnd.ms-office.chartstyle+xml"/>
  <Override PartName="/ppt/charts/colors32.xml" ContentType="application/vnd.ms-office.chartcolorstyle+xml"/>
  <Override PartName="/ppt/tags/tag138.xml" ContentType="application/vnd.openxmlformats-officedocument.presentationml.tags+xml"/>
  <Override PartName="/ppt/charts/chart77.xml" ContentType="application/vnd.openxmlformats-officedocument.drawingml.chart+xml"/>
  <Override PartName="/ppt/charts/style33.xml" ContentType="application/vnd.ms-office.chartstyle+xml"/>
  <Override PartName="/ppt/charts/colors33.xml" ContentType="application/vnd.ms-office.chartcolorstyle+xml"/>
  <Override PartName="/ppt/tags/tag139.xml" ContentType="application/vnd.openxmlformats-officedocument.presentationml.tags+xml"/>
  <Override PartName="/ppt/charts/chart78.xml" ContentType="application/vnd.openxmlformats-officedocument.drawingml.chart+xml"/>
  <Override PartName="/ppt/charts/style34.xml" ContentType="application/vnd.ms-office.chartstyle+xml"/>
  <Override PartName="/ppt/charts/colors34.xml" ContentType="application/vnd.ms-office.chartcolorstyle+xml"/>
  <Override PartName="/ppt/tags/tag140.xml" ContentType="application/vnd.openxmlformats-officedocument.presentationml.tags+xml"/>
  <Override PartName="/ppt/charts/chart79.xml" ContentType="application/vnd.openxmlformats-officedocument.drawingml.chart+xml"/>
  <Override PartName="/ppt/charts/style35.xml" ContentType="application/vnd.ms-office.chartstyle+xml"/>
  <Override PartName="/ppt/charts/colors35.xml" ContentType="application/vnd.ms-office.chartcolorstyle+xml"/>
  <Override PartName="/ppt/tags/tag141.xml" ContentType="application/vnd.openxmlformats-officedocument.presentationml.tags+xml"/>
  <Override PartName="/ppt/charts/chart80.xml" ContentType="application/vnd.openxmlformats-officedocument.drawingml.chart+xml"/>
  <Override PartName="/ppt/charts/style36.xml" ContentType="application/vnd.ms-office.chartstyle+xml"/>
  <Override PartName="/ppt/charts/colors36.xml" ContentType="application/vnd.ms-office.chartcolorstyle+xml"/>
  <Override PartName="/ppt/tags/tag142.xml" ContentType="application/vnd.openxmlformats-officedocument.presentationml.tags+xml"/>
  <Override PartName="/ppt/charts/chart81.xml" ContentType="application/vnd.openxmlformats-officedocument.drawingml.chart+xml"/>
  <Override PartName="/ppt/charts/style37.xml" ContentType="application/vnd.ms-office.chartstyle+xml"/>
  <Override PartName="/ppt/charts/colors37.xml" ContentType="application/vnd.ms-office.chartcolorstyle+xml"/>
  <Override PartName="/ppt/tags/tag143.xml" ContentType="application/vnd.openxmlformats-officedocument.presentationml.tags+xml"/>
  <Override PartName="/ppt/charts/chart82.xml" ContentType="application/vnd.openxmlformats-officedocument.drawingml.chart+xml"/>
  <Override PartName="/ppt/charts/style38.xml" ContentType="application/vnd.ms-office.chartstyle+xml"/>
  <Override PartName="/ppt/charts/colors38.xml" ContentType="application/vnd.ms-office.chartcolorstyle+xml"/>
  <Override PartName="/ppt/tags/tag144.xml" ContentType="application/vnd.openxmlformats-officedocument.presentationml.tags+xml"/>
  <Override PartName="/ppt/charts/chart83.xml" ContentType="application/vnd.openxmlformats-officedocument.drawingml.chart+xml"/>
  <Override PartName="/ppt/charts/style39.xml" ContentType="application/vnd.ms-office.chartstyle+xml"/>
  <Override PartName="/ppt/charts/colors39.xml" ContentType="application/vnd.ms-office.chartcolorstyle+xml"/>
  <Override PartName="/ppt/tags/tag145.xml" ContentType="application/vnd.openxmlformats-officedocument.presentationml.tags+xml"/>
  <Override PartName="/ppt/charts/chart84.xml" ContentType="application/vnd.openxmlformats-officedocument.drawingml.chart+xml"/>
  <Override PartName="/ppt/charts/style40.xml" ContentType="application/vnd.ms-office.chartstyle+xml"/>
  <Override PartName="/ppt/charts/colors40.xml" ContentType="application/vnd.ms-office.chartcolorstyle+xml"/>
  <Override PartName="/ppt/tags/tag146.xml" ContentType="application/vnd.openxmlformats-officedocument.presentationml.tags+xml"/>
  <Override PartName="/ppt/notesSlides/notesSlide73.xml" ContentType="application/vnd.openxmlformats-officedocument.presentationml.notesSlide+xml"/>
  <Override PartName="/ppt/charts/chart85.xml" ContentType="application/vnd.openxmlformats-officedocument.drawingml.chart+xml"/>
  <Override PartName="/ppt/tags/tag147.xml" ContentType="application/vnd.openxmlformats-officedocument.presentationml.tags+xml"/>
  <Override PartName="/ppt/notesSlides/notesSlide74.xml" ContentType="application/vnd.openxmlformats-officedocument.presentationml.notesSlide+xml"/>
  <Override PartName="/ppt/charts/chart86.xml" ContentType="application/vnd.openxmlformats-officedocument.drawingml.chart+xml"/>
  <Override PartName="/ppt/tags/tag148.xml" ContentType="application/vnd.openxmlformats-officedocument.presentationml.tags+xml"/>
  <Override PartName="/ppt/notesSlides/notesSlide75.xml" ContentType="application/vnd.openxmlformats-officedocument.presentationml.notesSlide+xml"/>
  <Override PartName="/ppt/charts/chart87.xml" ContentType="application/vnd.openxmlformats-officedocument.drawingml.chart+xml"/>
  <Override PartName="/ppt/tags/tag149.xml" ContentType="application/vnd.openxmlformats-officedocument.presentationml.tags+xml"/>
  <Override PartName="/ppt/notesSlides/notesSlide76.xml" ContentType="application/vnd.openxmlformats-officedocument.presentationml.notesSlide+xml"/>
  <Override PartName="/ppt/charts/chart88.xml" ContentType="application/vnd.openxmlformats-officedocument.drawingml.chart+xml"/>
  <Override PartName="/ppt/tags/tag150.xml" ContentType="application/vnd.openxmlformats-officedocument.presentationml.tags+xml"/>
  <Override PartName="/ppt/notesSlides/notesSlide77.xml" ContentType="application/vnd.openxmlformats-officedocument.presentationml.notesSlide+xml"/>
  <Override PartName="/ppt/charts/chart89.xml" ContentType="application/vnd.openxmlformats-officedocument.drawingml.chart+xml"/>
  <Override PartName="/ppt/tags/tag151.xml" ContentType="application/vnd.openxmlformats-officedocument.presentationml.tags+xml"/>
  <Override PartName="/ppt/notesSlides/notesSlide78.xml" ContentType="application/vnd.openxmlformats-officedocument.presentationml.notesSlide+xml"/>
  <Override PartName="/ppt/charts/chart90.xml" ContentType="application/vnd.openxmlformats-officedocument.drawingml.chart+xml"/>
  <Override PartName="/ppt/tags/tag152.xml" ContentType="application/vnd.openxmlformats-officedocument.presentationml.tags+xml"/>
  <Override PartName="/ppt/notesSlides/notesSlide79.xml" ContentType="application/vnd.openxmlformats-officedocument.presentationml.notesSlide+xml"/>
  <Override PartName="/ppt/charts/chart91.xml" ContentType="application/vnd.openxmlformats-officedocument.drawingml.chart+xml"/>
  <Override PartName="/ppt/tags/tag153.xml" ContentType="application/vnd.openxmlformats-officedocument.presentationml.tags+xml"/>
  <Override PartName="/ppt/notesSlides/notesSlide80.xml" ContentType="application/vnd.openxmlformats-officedocument.presentationml.notesSlide+xml"/>
  <Override PartName="/ppt/charts/chart92.xml" ContentType="application/vnd.openxmlformats-officedocument.drawingml.chart+xml"/>
  <Override PartName="/ppt/tags/tag154.xml" ContentType="application/vnd.openxmlformats-officedocument.presentationml.tags+xml"/>
  <Override PartName="/ppt/notesSlides/notesSlide81.xml" ContentType="application/vnd.openxmlformats-officedocument.presentationml.notesSlide+xml"/>
  <Override PartName="/ppt/charts/chart93.xml" ContentType="application/vnd.openxmlformats-officedocument.drawingml.chart+xml"/>
  <Override PartName="/ppt/tags/tag155.xml" ContentType="application/vnd.openxmlformats-officedocument.presentationml.tags+xml"/>
  <Override PartName="/ppt/notesSlides/notesSlide82.xml" ContentType="application/vnd.openxmlformats-officedocument.presentationml.notesSlide+xml"/>
  <Override PartName="/ppt/charts/chart94.xml" ContentType="application/vnd.openxmlformats-officedocument.drawingml.chart+xml"/>
  <Override PartName="/ppt/tags/tag156.xml" ContentType="application/vnd.openxmlformats-officedocument.presentationml.tags+xml"/>
  <Override PartName="/ppt/notesSlides/notesSlide83.xml" ContentType="application/vnd.openxmlformats-officedocument.presentationml.notesSlide+xml"/>
  <Override PartName="/ppt/charts/chart95.xml" ContentType="application/vnd.openxmlformats-officedocument.drawingml.chart+xml"/>
  <Override PartName="/ppt/tags/tag157.xml" ContentType="application/vnd.openxmlformats-officedocument.presentationml.tags+xml"/>
  <Override PartName="/ppt/notesSlides/notesSlide84.xml" ContentType="application/vnd.openxmlformats-officedocument.presentationml.notesSlide+xml"/>
  <Override PartName="/ppt/charts/chart96.xml" ContentType="application/vnd.openxmlformats-officedocument.drawingml.chart+xml"/>
  <Override PartName="/ppt/tags/tag158.xml" ContentType="application/vnd.openxmlformats-officedocument.presentationml.tags+xml"/>
  <Override PartName="/ppt/notesSlides/notesSlide85.xml" ContentType="application/vnd.openxmlformats-officedocument.presentationml.notesSlide+xml"/>
  <Override PartName="/ppt/charts/chart97.xml" ContentType="application/vnd.openxmlformats-officedocument.drawingml.chart+xml"/>
  <Override PartName="/ppt/tags/tag159.xml" ContentType="application/vnd.openxmlformats-officedocument.presentationml.tags+xml"/>
  <Override PartName="/ppt/notesSlides/notesSlide86.xml" ContentType="application/vnd.openxmlformats-officedocument.presentationml.notesSlide+xml"/>
  <Override PartName="/ppt/charts/chart98.xml" ContentType="application/vnd.openxmlformats-officedocument.drawingml.chart+xml"/>
  <Override PartName="/ppt/tags/tag160.xml" ContentType="application/vnd.openxmlformats-officedocument.presentationml.tags+xml"/>
  <Override PartName="/ppt/notesSlides/notesSlide87.xml" ContentType="application/vnd.openxmlformats-officedocument.presentationml.notesSlide+xml"/>
  <Override PartName="/ppt/charts/chart99.xml" ContentType="application/vnd.openxmlformats-officedocument.drawingml.chart+xml"/>
  <Override PartName="/ppt/tags/tag161.xml" ContentType="application/vnd.openxmlformats-officedocument.presentationml.tags+xml"/>
  <Override PartName="/ppt/notesSlides/notesSlide88.xml" ContentType="application/vnd.openxmlformats-officedocument.presentationml.notesSlide+xml"/>
  <Override PartName="/ppt/charts/chart100.xml" ContentType="application/vnd.openxmlformats-officedocument.drawingml.chart+xml"/>
  <Override PartName="/ppt/tags/tag162.xml" ContentType="application/vnd.openxmlformats-officedocument.presentationml.tags+xml"/>
  <Override PartName="/ppt/notesSlides/notesSlide89.xml" ContentType="application/vnd.openxmlformats-officedocument.presentationml.notesSlide+xml"/>
  <Override PartName="/ppt/charts/chart101.xml" ContentType="application/vnd.openxmlformats-officedocument.drawingml.chart+xml"/>
  <Override PartName="/ppt/tags/tag163.xml" ContentType="application/vnd.openxmlformats-officedocument.presentationml.tags+xml"/>
  <Override PartName="/ppt/notesSlides/notesSlide90.xml" ContentType="application/vnd.openxmlformats-officedocument.presentationml.notesSlide+xml"/>
  <Override PartName="/ppt/charts/chart102.xml" ContentType="application/vnd.openxmlformats-officedocument.drawingml.chart+xml"/>
  <Override PartName="/ppt/tags/tag164.xml" ContentType="application/vnd.openxmlformats-officedocument.presentationml.tags+xml"/>
  <Override PartName="/ppt/notesSlides/notesSlide91.xml" ContentType="application/vnd.openxmlformats-officedocument.presentationml.notesSlide+xml"/>
  <Override PartName="/ppt/charts/chart103.xml" ContentType="application/vnd.openxmlformats-officedocument.drawingml.chart+xml"/>
  <Override PartName="/ppt/tags/tag165.xml" ContentType="application/vnd.openxmlformats-officedocument.presentationml.tags+xml"/>
  <Override PartName="/ppt/notesSlides/notesSlide92.xml" ContentType="application/vnd.openxmlformats-officedocument.presentationml.notesSlide+xml"/>
  <Override PartName="/ppt/charts/chart104.xml" ContentType="application/vnd.openxmlformats-officedocument.drawingml.chart+xml"/>
  <Override PartName="/ppt/tags/tag166.xml" ContentType="application/vnd.openxmlformats-officedocument.presentationml.tags+xml"/>
  <Override PartName="/ppt/notesSlides/notesSlide93.xml" ContentType="application/vnd.openxmlformats-officedocument.presentationml.notesSlide+xml"/>
  <Override PartName="/ppt/charts/chart105.xml" ContentType="application/vnd.openxmlformats-officedocument.drawingml.chart+xml"/>
  <Override PartName="/ppt/tags/tag167.xml" ContentType="application/vnd.openxmlformats-officedocument.presentationml.tags+xml"/>
  <Override PartName="/ppt/notesSlides/notesSlide94.xml" ContentType="application/vnd.openxmlformats-officedocument.presentationml.notesSlide+xml"/>
  <Override PartName="/ppt/charts/chart106.xml" ContentType="application/vnd.openxmlformats-officedocument.drawingml.chart+xml"/>
  <Override PartName="/ppt/tags/tag168.xml" ContentType="application/vnd.openxmlformats-officedocument.presentationml.tags+xml"/>
  <Override PartName="/ppt/notesSlides/notesSlide95.xml" ContentType="application/vnd.openxmlformats-officedocument.presentationml.notesSlide+xml"/>
  <Override PartName="/ppt/charts/chart107.xml" ContentType="application/vnd.openxmlformats-officedocument.drawingml.chart+xml"/>
  <Override PartName="/ppt/tags/tag169.xml" ContentType="application/vnd.openxmlformats-officedocument.presentationml.tags+xml"/>
  <Override PartName="/ppt/notesSlides/notesSlide96.xml" ContentType="application/vnd.openxmlformats-officedocument.presentationml.notesSlide+xml"/>
  <Override PartName="/ppt/charts/chart108.xml" ContentType="application/vnd.openxmlformats-officedocument.drawingml.chart+xml"/>
  <Override PartName="/ppt/tags/tag170.xml" ContentType="application/vnd.openxmlformats-officedocument.presentationml.tags+xml"/>
  <Override PartName="/ppt/notesSlides/notesSlide97.xml" ContentType="application/vnd.openxmlformats-officedocument.presentationml.notesSlide+xml"/>
  <Override PartName="/ppt/charts/chart109.xml" ContentType="application/vnd.openxmlformats-officedocument.drawingml.chart+xml"/>
  <Override PartName="/ppt/tags/tag171.xml" ContentType="application/vnd.openxmlformats-officedocument.presentationml.tags+xml"/>
  <Override PartName="/ppt/notesSlides/notesSlide98.xml" ContentType="application/vnd.openxmlformats-officedocument.presentationml.notesSlide+xml"/>
  <Override PartName="/ppt/charts/chart110.xml" ContentType="application/vnd.openxmlformats-officedocument.drawingml.chart+xml"/>
  <Override PartName="/ppt/tags/tag172.xml" ContentType="application/vnd.openxmlformats-officedocument.presentationml.tags+xml"/>
  <Override PartName="/ppt/notesSlides/notesSlide99.xml" ContentType="application/vnd.openxmlformats-officedocument.presentationml.notesSlide+xml"/>
  <Override PartName="/ppt/charts/chart111.xml" ContentType="application/vnd.openxmlformats-officedocument.drawingml.chart+xml"/>
  <Override PartName="/ppt/tags/tag173.xml" ContentType="application/vnd.openxmlformats-officedocument.presentationml.tags+xml"/>
  <Override PartName="/ppt/notesSlides/notesSlide100.xml" ContentType="application/vnd.openxmlformats-officedocument.presentationml.notesSlide+xml"/>
  <Override PartName="/ppt/charts/chart112.xml" ContentType="application/vnd.openxmlformats-officedocument.drawingml.chart+xml"/>
  <Override PartName="/ppt/tags/tag174.xml" ContentType="application/vnd.openxmlformats-officedocument.presentationml.tags+xml"/>
  <Override PartName="/ppt/notesSlides/notesSlide101.xml" ContentType="application/vnd.openxmlformats-officedocument.presentationml.notesSlide+xml"/>
  <Override PartName="/ppt/charts/chart113.xml" ContentType="application/vnd.openxmlformats-officedocument.drawingml.chart+xml"/>
  <Override PartName="/ppt/tags/tag175.xml" ContentType="application/vnd.openxmlformats-officedocument.presentationml.tags+xml"/>
  <Override PartName="/ppt/notesSlides/notesSlide102.xml" ContentType="application/vnd.openxmlformats-officedocument.presentationml.notesSlide+xml"/>
  <Override PartName="/ppt/charts/chart114.xml" ContentType="application/vnd.openxmlformats-officedocument.drawingml.chart+xml"/>
  <Override PartName="/ppt/tags/tag176.xml" ContentType="application/vnd.openxmlformats-officedocument.presentationml.tags+xml"/>
  <Override PartName="/ppt/notesSlides/notesSlide103.xml" ContentType="application/vnd.openxmlformats-officedocument.presentationml.notesSlide+xml"/>
  <Override PartName="/ppt/charts/chart115.xml" ContentType="application/vnd.openxmlformats-officedocument.drawingml.chart+xml"/>
  <Override PartName="/ppt/tags/tag177.xml" ContentType="application/vnd.openxmlformats-officedocument.presentationml.tags+xml"/>
  <Override PartName="/ppt/notesSlides/notesSlide104.xml" ContentType="application/vnd.openxmlformats-officedocument.presentationml.notesSlide+xml"/>
  <Override PartName="/ppt/charts/chart116.xml" ContentType="application/vnd.openxmlformats-officedocument.drawingml.chart+xml"/>
  <Override PartName="/ppt/tags/tag178.xml" ContentType="application/vnd.openxmlformats-officedocument.presentationml.tags+xml"/>
  <Override PartName="/ppt/notesSlides/notesSlide105.xml" ContentType="application/vnd.openxmlformats-officedocument.presentationml.notesSlide+xml"/>
  <Override PartName="/ppt/charts/chart117.xml" ContentType="application/vnd.openxmlformats-officedocument.drawingml.chart+xml"/>
  <Override PartName="/ppt/tags/tag179.xml" ContentType="application/vnd.openxmlformats-officedocument.presentationml.tags+xml"/>
  <Override PartName="/ppt/notesSlides/notesSlide106.xml" ContentType="application/vnd.openxmlformats-officedocument.presentationml.notesSlide+xml"/>
  <Override PartName="/ppt/charts/chart118.xml" ContentType="application/vnd.openxmlformats-officedocument.drawingml.chart+xml"/>
  <Override PartName="/ppt/tags/tag180.xml" ContentType="application/vnd.openxmlformats-officedocument.presentationml.tags+xml"/>
  <Override PartName="/ppt/notesSlides/notesSlide107.xml" ContentType="application/vnd.openxmlformats-officedocument.presentationml.notesSlide+xml"/>
  <Override PartName="/ppt/charts/chart119.xml" ContentType="application/vnd.openxmlformats-officedocument.drawingml.chart+xml"/>
  <Override PartName="/ppt/tags/tag181.xml" ContentType="application/vnd.openxmlformats-officedocument.presentationml.tags+xml"/>
  <Override PartName="/ppt/notesSlides/notesSlide108.xml" ContentType="application/vnd.openxmlformats-officedocument.presentationml.notesSlide+xml"/>
  <Override PartName="/ppt/charts/chart120.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6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brand" id="{7CE8E48A-66D0-4182-B9D2-D39AAD304225}">
          <p14:sldIdLst>
            <p14:sldId id="2147475169"/>
            <p14:sldId id="2147475170"/>
            <p14:sldId id="2147475171"/>
            <p14:sldId id="2147475172"/>
            <p14:sldId id="2147475173"/>
            <p14:sldId id="2147475174"/>
            <p14:sldId id="2147475175"/>
            <p14:sldId id="2147475176"/>
            <p14:sldId id="2147475177"/>
            <p14:sldId id="2147475178"/>
          </p14:sldIdLst>
        </p14:section>
        <p14:section name="Mix Analysis by Retailer for Region" id="{9D3A12DE-BA37-4A1F-B874-80AFE58DDC36}">
          <p14:sldIdLst>
            <p14:sldId id="2147475179"/>
            <p14:sldId id="2147475180"/>
            <p14:sldId id="2147475181"/>
            <p14:sldId id="2147475182"/>
            <p14:sldId id="2147475183"/>
            <p14:sldId id="2147475184"/>
          </p14:sldIdLst>
        </p14:section>
        <p14:section name="Mix Analysis by Sector" id="{A168063E-BBFF-4CFF-9CB2-AB25135EF7ED}">
          <p14:sldIdLst>
            <p14:sldId id="2147475185"/>
            <p14:sldId id="2147475186"/>
          </p14:sldIdLst>
        </p14:section>
        <p14:section name="Mix Analysis by Segment" id="{4DE19352-B47C-43E8-9ADB-D59D46D8D0ED}">
          <p14:sldIdLst>
            <p14:sldId id="2147475187"/>
            <p14:sldId id="2147475188"/>
          </p14:sldIdLst>
        </p14:section>
        <p14:section name="Mix Analysis byItem" id="{8DA37366-510D-4E6E-B183-AE2D9A7180E4}">
          <p14:sldIdLst>
            <p14:sldId id="2147475189"/>
            <p14:sldId id="2147475190"/>
            <p14:sldId id="2147475191"/>
            <p14:sldId id="2147475192"/>
            <p14:sldId id="2147475193"/>
            <p14:sldId id="2147475194"/>
            <p14:sldId id="2147475195"/>
            <p14:sldId id="2147475196"/>
            <p14:sldId id="2147475197"/>
            <p14:sldId id="2147475198"/>
            <p14:sldId id="2147475199"/>
            <p14:sldId id="2147475200"/>
          </p14:sldIdLst>
        </p14:section>
        <p14:section name="Trade Margin Analysis by Sector" id="{44862D17-6FB8-4B41-AE7D-C64430D74222}">
          <p14:sldIdLst>
            <p14:sldId id="2147475201"/>
            <p14:sldId id="2147475202"/>
          </p14:sldIdLst>
        </p14:section>
        <p14:section name="Trade Margin Analysis by Segment" id="{F11AB636-5640-40EB-9070-EF40999F7EAB}">
          <p14:sldIdLst>
            <p14:sldId id="2147475203"/>
            <p14:sldId id="2147475204"/>
          </p14:sldIdLst>
        </p14:section>
        <p14:section name="SKU KPIs Summary By Manufacturer" id="{AAF4899B-136C-45BB-B12E-20A7D1608502}">
          <p14:sldIdLst>
            <p14:sldId id="2147475205"/>
            <p14:sldId id="2147475206"/>
            <p14:sldId id="2147475207"/>
            <p14:sldId id="2147475208"/>
            <p14:sldId id="2147475209"/>
            <p14:sldId id="2147475210"/>
            <p14:sldId id="2147475211"/>
            <p14:sldId id="2147475212"/>
            <p14:sldId id="2147475213"/>
            <p14:sldId id="2147475214"/>
            <p14:sldId id="2147475215"/>
            <p14:sldId id="2147475216"/>
          </p14:sldIdLst>
        </p14:section>
        <p14:section name="SKU KPIs Summary By Brand" id="{ED66EC3E-53EC-4AA3-8641-94BAA9A0E0C5}">
          <p14:sldIdLst>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Lst>
        </p14:section>
        <p14:section name="Mix Matrix By Retailer" id="{0807F847-9019-414F-81FD-4EFD37D5B09A}">
          <p14:sldIdLst>
            <p14:sldId id="2147475241"/>
            <p14:sldId id="2147475242"/>
          </p14:sldIdLst>
        </p14:section>
        <p14:section name="Mix Matrix By Brands by Sector" id="{02EE090F-9D13-486C-9246-F01FC761E0F1}">
          <p14:sldIdLst>
            <p14:sldId id="2147475243"/>
            <p14:sldId id="2147475244"/>
          </p14:sldIdLst>
        </p14:section>
        <p14:section name="Mix Matrix By Brands by Segment" id="{6926E5E0-CC40-4045-92DB-6A4BB23F510B}">
          <p14:sldIdLst>
            <p14:sldId id="2147475245"/>
            <p14:sldId id="2147475246"/>
          </p14:sldIdLst>
        </p14:section>
        <p14:section name="Sector Spending Pool" id="{B1D764F1-0C0F-4418-974B-62B2E6E3089F}">
          <p14:sldIdLst>
            <p14:sldId id="2147475247"/>
            <p14:sldId id="2147475248"/>
          </p14:sldIdLst>
        </p14:section>
        <p14:section name="Segment Spending Pool" id="{AF28D306-E1A2-431E-949D-F873363DFA08}">
          <p14:sldIdLst>
            <p14:sldId id="2147475249"/>
            <p14:sldId id="2147475250"/>
          </p14:sldIdLst>
        </p14:section>
        <p14:section name="Product Spending Pool" id="{1C224471-85DD-431C-929E-B938343D0451}">
          <p14:sldIdLst>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Lst>
        </p14:section>
        <p14:section name="SKU Profitability" id="{99EF0452-838B-4A91-BEFF-7A6E47106B47}">
          <p14:sldIdLst>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Lst>
        </p14:section>
        <p14:section name="Trade Margin Table By Sector" id="{977D7B6B-F914-494B-B4DF-86A9220F0785}">
          <p14:sldIdLst>
            <p14:sldId id="2147475323"/>
            <p14:sldId id="2147475324"/>
          </p14:sldIdLst>
        </p14:section>
        <p14:section name="Trade Margin Table By Segment" id="{8574C403-BE9A-4ED2-A47F-EDCE77F30E77}">
          <p14:sldIdLst>
            <p14:sldId id="2147475325"/>
            <p14:sldId id="21474753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presProps" Target="presProps.xml"/><Relationship Id="rId16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viewProps" Target="viewProp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3.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4.xml"/></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6.xml"/></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7.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8.xml"/></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1.xml"/><Relationship Id="rId1" Type="http://schemas.microsoft.com/office/2011/relationships/chartStyle" Target="style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2.xml"/><Relationship Id="rId1" Type="http://schemas.microsoft.com/office/2011/relationships/chartStyle" Target="style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xml"/><Relationship Id="rId1" Type="http://schemas.microsoft.com/office/2011/relationships/chartStyle" Target="style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xml"/><Relationship Id="rId1" Type="http://schemas.microsoft.com/office/2011/relationships/chartStyle" Target="style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6.xml"/><Relationship Id="rId1" Type="http://schemas.microsoft.com/office/2011/relationships/chartStyle" Target="style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7.xml"/><Relationship Id="rId1" Type="http://schemas.microsoft.com/office/2011/relationships/chartStyle" Target="style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8.xml"/><Relationship Id="rId1" Type="http://schemas.microsoft.com/office/2011/relationships/chartStyle" Target="style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9.xml"/><Relationship Id="rId1" Type="http://schemas.microsoft.com/office/2011/relationships/chartStyle" Target="style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0.xml"/><Relationship Id="rId1" Type="http://schemas.microsoft.com/office/2011/relationships/chartStyle" Target="style1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1.xml"/><Relationship Id="rId1" Type="http://schemas.microsoft.com/office/2011/relationships/chartStyle" Target="style1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12.xml"/><Relationship Id="rId1" Type="http://schemas.microsoft.com/office/2011/relationships/chartStyle" Target="style1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13.xml"/><Relationship Id="rId1" Type="http://schemas.microsoft.com/office/2011/relationships/chartStyle" Target="style1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4.xml"/><Relationship Id="rId1" Type="http://schemas.microsoft.com/office/2011/relationships/chartStyle" Target="style1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5.xml"/><Relationship Id="rId1" Type="http://schemas.microsoft.com/office/2011/relationships/chartStyle" Target="style1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6.xml"/><Relationship Id="rId1" Type="http://schemas.microsoft.com/office/2011/relationships/chartStyle" Target="style1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7.xml"/><Relationship Id="rId1" Type="http://schemas.microsoft.com/office/2011/relationships/chartStyle" Target="style1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8.xml"/><Relationship Id="rId1" Type="http://schemas.microsoft.com/office/2011/relationships/chartStyle" Target="style1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9.xml"/><Relationship Id="rId1" Type="http://schemas.microsoft.com/office/2011/relationships/chartStyle" Target="style1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20.xml"/><Relationship Id="rId1" Type="http://schemas.microsoft.com/office/2011/relationships/chartStyle" Target="style2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21.xml"/><Relationship Id="rId1" Type="http://schemas.microsoft.com/office/2011/relationships/chartStyle" Target="style2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22.xml"/><Relationship Id="rId1" Type="http://schemas.microsoft.com/office/2011/relationships/chartStyle" Target="style2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23.xml"/><Relationship Id="rId1" Type="http://schemas.microsoft.com/office/2011/relationships/chartStyle" Target="style2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4.xml"/><Relationship Id="rId1" Type="http://schemas.microsoft.com/office/2011/relationships/chartStyle" Target="style2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5.xml"/><Relationship Id="rId1" Type="http://schemas.microsoft.com/office/2011/relationships/chartStyle" Target="style2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6.xml"/><Relationship Id="rId1" Type="http://schemas.microsoft.com/office/2011/relationships/chartStyle" Target="style2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7.xml"/><Relationship Id="rId1" Type="http://schemas.microsoft.com/office/2011/relationships/chartStyle" Target="style2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8.xml"/><Relationship Id="rId1" Type="http://schemas.microsoft.com/office/2011/relationships/chartStyle" Target="style2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9.xml"/><Relationship Id="rId1" Type="http://schemas.microsoft.com/office/2011/relationships/chartStyle" Target="style2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30.xml"/><Relationship Id="rId1" Type="http://schemas.microsoft.com/office/2011/relationships/chartStyle" Target="style3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31.xml"/><Relationship Id="rId1" Type="http://schemas.microsoft.com/office/2011/relationships/chartStyle" Target="style3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32.xml"/><Relationship Id="rId1" Type="http://schemas.microsoft.com/office/2011/relationships/chartStyle" Target="style3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33.xml"/><Relationship Id="rId1" Type="http://schemas.microsoft.com/office/2011/relationships/chartStyle" Target="style3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34.xml"/><Relationship Id="rId1" Type="http://schemas.microsoft.com/office/2011/relationships/chartStyle" Target="style3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35.xml"/><Relationship Id="rId1" Type="http://schemas.microsoft.com/office/2011/relationships/chartStyle" Target="style3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36.xml"/><Relationship Id="rId1" Type="http://schemas.microsoft.com/office/2011/relationships/chartStyle" Target="style36.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37.xml"/><Relationship Id="rId1" Type="http://schemas.microsoft.com/office/2011/relationships/chartStyle" Target="style37.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38.xml"/><Relationship Id="rId1" Type="http://schemas.microsoft.com/office/2011/relationships/chartStyle" Target="style38.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39.xml"/><Relationship Id="rId1" Type="http://schemas.microsoft.com/office/2011/relationships/chartStyle" Target="style39.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40.xml"/><Relationship Id="rId1" Type="http://schemas.microsoft.com/office/2011/relationships/chartStyle" Target="style40.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DB1DDC9-476A-4A7B-936A-71A0A01D4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00F94C6-ADF8-4D8F-AA52-715E105D3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6E828AE-4F29-4CF2-B697-3B2A46755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C813A2-83C9-44FC-9BEC-728C68959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9616FB5-8769-4201-ABB7-6549BDF58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93CFA07-B632-4894-8D68-E94AB062A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4857049-91A7-4926-97D2-3427C8789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AE9E158-386B-4A30-9E87-1EE94AE7C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FD3AD64-2F39-4C2B-8D56-E17803386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5FE7F1B-39C8-46E7-98F6-62AF34C0B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DD82B0F-FBF7-4458-A3CC-4D8665CD1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F7AABB1-18AA-4255-8AF1-CBA37A68D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C42F2DB-0DD6-4DEF-B908-C2ACD70BE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D08D68A-D4B6-4B50-9280-71D51B4B5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0F4EC01-7845-4EC3-B273-0F733E9BC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3248BC8-6DD6-434A-A18B-BE2D1F73D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719FC43-B707-43FC-8A4E-EFA9765AE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7BDEC17-A907-433D-B241-08EBC793D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6E07C0A-CEDD-4BA4-9106-A4723DC2A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31CB3D4-16AF-4DD5-839D-48036E031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85707F3-21E5-4A9E-A9D4-DFFBB7A9D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D9F35BE-2144-45AA-A5B2-24FB26FB3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74052FB-8021-482A-B512-46275E4B6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892AC49-8517-45D6-93CE-012F051CF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07F0529-A648-48A5-B0F4-3D7209F97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79C959F-B7BD-4B4C-BC11-388E041DF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45E1D87-32F8-47C5-AE95-E6CA23906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175B4C9-2C9B-4197-A097-2FEDDB223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67B8195-3AD4-46C3-AED6-01ACD4A02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A8A532F-61B2-40E4-B65B-AC1EDB715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F26244A-644E-47CF-B88D-1B453105F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A12ABD6-49BC-428D-B7C7-25C7FBF79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79608AA-0903-4C27-961E-E0AC59DF1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4B7206B-21AF-4F7C-BA8D-2AE8E7C6E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B4BC26A-BA98-449E-A041-78CBC0DA6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36D2EAA-6F8E-4FBE-844E-B2D2AD9A0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3EBEE76-0F0D-4F5C-A8C9-B423D0568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F8C1068-005D-4D15-8C64-08794C5E2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14E5FC6-981D-44DB-AB4F-9D701FB35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33D8024-8918-4E0C-9473-4D7B38761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416E14A-A0D1-4EC5-AEC5-F87A09863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56A224E-1CDF-4FF6-ACEF-8E37B009A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76D597F-B03C-476D-ACCD-6F6D614CA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66D1F65-FC80-4520-A9AE-E888443D1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BEBE82E-91AC-4191-94E2-54617E9B4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F4DF5F7-DB8A-47C3-8448-033B5367B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8933DFB-7C9D-4F28-9E34-B1BBFAC2D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478F84E-018D-4EA1-BCD9-BF938C408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CB5A50B-0C8E-493B-A86E-FBADECCDD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7B10F79-376D-4840-BF87-6D25B2E56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FDF877D-6722-460A-95C0-DE9B31538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66A1D14-4643-46C3-827A-FEE345E7E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E992CA6-F5EB-4C73-AC31-C2908F6DA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6DCCBA8-3EF3-4179-96BC-5F8CB1E67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206FD20-7467-4C44-8E77-5EC356A6F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5D5B033-C062-424D-9358-C4156D5E9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1F9C1E7-FB1F-4F1A-83A2-17F4AF0D1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3DE166A-5034-4B38-A4DA-7E109E675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DC4E75C-A871-4314-AF0C-859C8E59E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FF1C5AC-191F-44AA-A5A5-559A27582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4B578F8-3835-4F2E-A8FF-40E63E89F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EC224B5-E7E3-43B0-A07D-69186F6AC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60AC0C9-A94D-49C0-B7DC-77B519DDD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BA2FD29-F1A8-4473-9ED6-6F2663B3A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3DC1209-B377-4C46-9301-AC737FAAB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01A9164-D6BE-4B1D-982D-D9CB0BAD3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AC9475A-2F7C-407E-B374-8A344020E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6A63D9B-3615-4571-B10F-635A34D98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443A69F-8C79-4203-8A8B-AEB7178BC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7F34A69-96CC-4FB9-B85C-0CD82BCD0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3CA6D91-24E9-4FE2-BC54-AB8436540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5C7E2AF-E726-4C1A-A173-BDA3D2FAF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E64A266-B375-4340-9DDE-C9C4C0AA9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B25EF0F-D532-4810-BCD8-66AE043FB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A1AF99B-ED78-4A10-9857-DBC617F5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2554EA-5A7C-4A01-891A-7ADF72FFA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64C5851-6649-4900-B7F8-BD03F3B91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E900076-E4FD-47E0-AFB1-B6D468351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1B36E84-F2B7-401B-82C5-673A9FEF7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8901C36-12F2-460C-ABCF-1A52EDC5A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1055EC0-53AB-4E32-B84A-5C777FD62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908E872-FBE2-43C7-9F66-0945275DC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3789BB9-745B-487A-A865-38FCD2073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BC84027-D626-4B7B-BB07-2FF1E2033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9ECC712-14B3-4C91-BA74-9211E445A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A27552D-49CA-41CB-8638-E80D9A552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5CAA35A-3B1C-4A12-8A7E-E3487A73E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753D545-1AA6-4E30-8E8D-25B75C485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056B3A9-4BF1-4583-AE35-9B5B47054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832F271-5466-49CD-BAB8-638DAAF49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2403729-0555-4C1C-AEA4-AD759D401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7E32908-3C24-428D-A9CD-41DE70D4C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9F6C371-C946-4AB8-83CE-560D9A188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0CF3FF5-B939-4AE0-B2D9-CCD61F5AD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B3228DD-50BF-4954-A586-9D8A3974C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15E1033-180F-4F80-AF4F-1B7DBCFB6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AED886F-D6BA-4AF1-B441-0C3188112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A18C3D8-3E76-45E5-800A-AA0134A58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51C5EAC-A63A-4E33-9D65-AAE3D392E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B73A9FA-BB9D-4C82-8B08-17DA23D41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994F0DF-D3C0-4F39-9A71-EB3B98075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455B5EB-3DD8-463A-B291-BAC79AE05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C86D925-DD3A-4CF2-9E2D-303245567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13AD582-493C-4CF3-BC6C-1FDEC1935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5AB90D4-F075-44A8-8FCF-5AADC915C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1317677-0B13-4408-8375-D7664EC68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0E2B79B-6F2D-4727-9B6B-A1891D5CA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65CEE62-A73F-449B-B40C-8A40946D0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FC4BFC4-401E-4642-B32A-0BC5BA5BC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BFBADA0-C4F5-4500-800B-FD59D04F0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86F0FF1-1634-4EE6-BA69-D1B81930B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F708101-2851-4250-9ED9-791F67566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58198FF-4B72-45C7-9A63-1991B2E14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97F63EB-3FC2-4489-B426-05208BDC1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79F2E62-523E-49AD-9F2D-0966B95C2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E3434CE-4C35-4737-8D80-9033DA19C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4D2C341-D18C-4386-8A22-254ECC014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1CB4068-1614-497C-AFD5-390C3BE10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8BBE8F3-DC85-4E71-88C3-83064D895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FE09DF9-CDB1-4199-ACDF-30731863E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E32AEE3-060B-4A9E-B724-2706F2A15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228EBB7-B258-410B-B609-257BDDC27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F98C8F7-316A-40BE-978C-54BEF54FB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BA8D49A-DAEF-4B20-B2E5-B9E8769D0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B912546-7663-4EDB-BD3B-409636C0F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A03DFBA-DD15-4477-847D-5FD3F6F0F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3677EB5-60F6-4E8F-AD6B-DAE93E000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1328B68-A29D-4E10-9B5E-D0395A679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686BF84-18DC-4903-924F-C45D3FC1B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98BFCFB-9A54-4DB4-8253-B930A90C7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0254B0E-3CF3-4B64-BD75-CAC1D6132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3B6723F-AF2D-4705-945D-199B4736A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7B32DA-707E-4774-A554-F413DA2D7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99EAEF5-9F5E-41B8-BA7D-5E00E9D60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0CD17EC-DB70-476D-AAD0-67A559523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E829CF3-63F7-44B1-B091-F671CD135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E1EDB60-E3A5-43DC-814B-BE5430667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92C77AC-7A44-4992-8C24-D793BB255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4FCE946-D0FD-47EA-9812-C9F4F37F2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4250312-3E01-42D2-ACD7-9E901254B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9EABEDE-94D1-408D-8064-640206E57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F07FB0-1AC6-4F1A-9C98-576165450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B67746D-22F5-43E8-A145-31D8C2BA0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4B3346A-2815-41C6-B5D4-584EF97A6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5DD4392-1C2E-4EE0-84AE-9B6DB0D77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0B868D4-DA38-499F-86F7-15B1AFD1F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D9A70AB-5FA5-48B0-B26B-BE4F16352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A0C5C20-690F-47E9-A466-6CF20D903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0A951BA-6629-4D5D-8430-15CC432E9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B56A105-FA97-49F6-9BEC-114070BBD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81D8560-CBCC-49C7-8AB9-3BF972425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4D28AA1-6D18-481C-9F66-F997B8C7C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0BE9B3A-D97F-4DBA-BD45-EF645A5E0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BCB9EFD-079A-4597-81C6-FFDFB0C2F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F46C1DE-3BAF-4389-81B8-423BB565C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6A2E120-5405-431C-98A8-221A0D00A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6BF8AF0-13FB-4A71-B844-D26AB6212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0E18E3F-4F85-45CB-87AD-6E6C37E30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51FA88A-E7BE-4B8E-9E73-EA683A055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1B94A99-A27A-4992-A440-0BC621E3E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DD30799-2F80-440F-A837-3B03F7195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EAE9DB7-F3F1-405B-9A46-77A42A5B1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A97339D-A945-4397-A22F-522004228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F52EE9D-0C9F-4AC3-8198-649D5DDD0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78BD80A-D46C-4942-8549-300313775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8BA9AE5-383B-4761-BA29-53EE9911F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F9F51CA-FF01-486D-B9E6-F48A146AB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39687E2-9B54-40FC-95F8-E8BA8DE5F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C47BAED-4606-41F1-906E-76641FA0C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875C932-5C25-4288-8F92-565510973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942F58E-06C5-4F00-8E9B-A15487657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DA9043F-4CB9-4D68-870F-E6FC8D31F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9B52D87-3688-443D-BCA2-00F2B7D3B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F39E253-D3EB-42CE-9894-A96AB5D67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E697E87-854F-4D25-B32D-294090131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DBEB65F-15C9-46A2-AF79-5EBE60C3C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89B134D-7761-4E4D-AD97-4A342CA94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361D080-EAE9-495D-825B-351BB62C1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AA069EB-2949-4FE5-A56B-E08C20B6B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4172D07-0002-49C9-BD67-0A791B643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7F4AF5E-0077-41D8-8B08-11E406C9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3DA4C40-1858-41A6-BC14-71A5E0D00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4868351-38BE-4C91-970D-63F5A5C37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2E8EE29-3162-43E0-9FB1-C8F3D44FB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37E4204-DF8C-4095-8F62-E8C2E96AA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3C54B9E-D065-4A65-AB90-4A2F08576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1A23781-0EBE-45FF-8E7E-5A0A5A689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C766280-9F28-4BD5-A86D-6642A0330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D8F4464-4812-4720-AF50-B147FF451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964F9D1-1E05-4601-8C19-4DA1C0651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4526A8A-997E-42BC-8367-C44B1B95E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4F6CA9E-6EBF-4068-95E1-B0A60D09F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A4762BA-418A-4A1B-A2B5-8853A5590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4AA0464-DC7E-4993-B9B0-7E9A9DFA2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3D806EE-B2E6-4F4E-8CA1-F15A8F37F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AA717ED-1045-4532-BEAF-81F8B4529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F32A60C-A54E-4EB2-96A6-3718190F2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7DC02C6-2E59-4453-95ED-CEDF9D3A0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08CF389-075E-4B5F-96B5-CA7784747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20CC357-7B7B-480C-BC5C-9D91E8D99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3E0F60C-8228-4025-ACB8-4265E89CC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01D3C4B-F087-4EFD-A67E-F24A12651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ACA2272-87EE-4FAE-A2B9-226D9EB59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20133C4-A067-4261-9A39-C41F87168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9F549E6-B764-4118-BFE7-BBE75A9ED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FEB9B21-ED31-4ED4-8582-D9E25E852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9E86948-7039-465F-8F63-8E81FD1AE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ED01232-1E62-437A-8C25-9F593BFA0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22174A7-8363-43CA-A84D-6A65AEAA8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41D9013-FAE0-41D1-A685-656B7DE5E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E3F1928-4670-4DDA-98ED-4DBA547BD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9DF8098-05AA-4960-8D4E-56E76BB82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7DF1697-8C29-42DD-8940-9B65F9D40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06E6869-4A7A-469A-935F-C586A1CB1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26B26DB-57A5-47C2-B741-C5B95055C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7F4F0AD-D0F0-4319-AA80-3EC33DAB4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4A2C521-0CBA-4BF2-94C3-E1A1F6057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A1AAE81-6384-4482-94E8-E8CC7A748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6E3C8D3-5448-4E1D-A406-250030B33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E17B086-E2F4-48BD-97DF-11CDF7F2E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597F756-0C3E-4A29-ADCF-48AE000D1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1C81A1F-E58A-4479-AF7A-4787E1D94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C661DAE-2D0E-4DDF-B491-738E5AA1A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ACFFF7A-72D4-4508-87E6-C6E49F6DF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D540768-7457-49A5-9B64-20E197478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D5B9292-55A8-4A1C-B54A-82724EBD7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CC72AC5-27D9-4B18-9E11-8035A0F4E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E16FAF8-37DB-47F8-A462-3C1784397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1200A06-7605-4636-ADF0-6BD53701B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D9AD6F9-D1BE-4752-A20E-2054C0501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B2AB1D1-8DB0-4B98-974B-C14CA8988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043E970-6AE3-4BA2-8A4C-D69A070B9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B8742E9-85F2-4E8E-9D48-A730B0445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AD547CF-3698-4928-B365-05E6CA38A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B0BEAEC-CBD7-4119-B197-D5185FBED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ED32CC8-2D1F-405B-B85E-E98B766FB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62E2E5D-23F5-4CE5-8002-63092BFF1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1D3E2F8-541A-49B0-83FB-B135B9632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DAA3EE5-B85C-4A18-81A7-AC5CBD567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0A75C84-5973-4398-87C5-FEBB5DE60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876456C-CF59-4A6B-8F76-BFD75A18C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9A68D1F-15C9-4FFF-A0DA-A0D52DEA9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05801C3-A9CE-4AAA-AD24-678389DF4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81A65B6-36F8-4DAC-BC7B-ADCD2C855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1985724-E438-479F-AD69-47BF7A530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137FEC1-B166-40D3-9D77-9F5A9C66F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92186E-C625-4527-BEB9-BE77DAF24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C03D487-6865-4673-84B9-E5D14CF6B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568C0D7-A2F9-48D3-961F-A6E6D1CC1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DBF481C-F31B-45C3-8C71-E511272BA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E765CAE-D8C4-43C3-94A4-9BAAEFF91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709EB73-AB67-4E33-A1B1-47BBAF5C7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0D3D608-6D7D-4639-BD1B-C7EA7E37B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06F277F-EF2C-4815-848E-C1AA7DFBD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4252D1E-1115-4985-851B-623D024CC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978369A-CC59-4CC5-85C9-CF645AE2E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E65FF25-AC7A-4567-B1F2-5C6EB02D6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DBBE93A-FB1D-42D8-B2E4-F9A6903BB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2FBA454-8168-418A-ADFC-9AB514EFE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FD6CBE2-964B-43D4-9B18-0F006675E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8C6F1A9-0498-4221-A121-F0B3EE86D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EC7A084-FE97-4DEF-B235-D8C3EC01B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2D3B82E-47E4-4005-B968-977796DAB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78BCEFC-1A7A-4895-9A52-C1743CBCF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6527649-0BB3-4C27-BB1F-8EA2B99F4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21F5208-AE4E-48D9-81CB-99AB5E513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4CD2CC1-50C4-48A5-BB2A-E5429A65D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F2F8D89-1292-4534-AF5B-4ADAAA4FA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334E71C-8345-4A82-AB7B-443D89DA6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C35C786-11EB-47E0-AEF4-6BB89E33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ECF43A1-EA03-4759-A573-EADD37F80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E064EC7-6276-4412-9130-794550D3E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05D67D4-0C6E-4408-A4AF-DC8916A4C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0FDACE9-4EF4-4872-87BE-9155E100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1218235-5A1E-4F02-9667-8BC49BBE1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2A18517-0122-4911-8FD7-1AE3B2BC2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6601D37-A74B-46BF-A6C5-3AAA26785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92DBC08-D786-4BC6-A5F7-FDECE2B8E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C85296E-25A5-4D11-A5D3-B9631FB91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F43896B-93E0-4DFB-BC6F-89239438A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AA571E9-0F05-413D-8609-A3431F748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3901D48-42B1-4DFF-9AF5-1C0DF6493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A6877CD-B9DF-4D9C-85A5-48A616F51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89AD3CA-7EFD-4AA8-B7B6-B57A64EA7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855D4ED-7B17-4D7F-9EC3-4C4BE44DB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012F5C9-D12E-4939-A371-E115CBC7D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1C208DB-48B0-4704-8A18-A9CBCB9D9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279D72B-38FE-4CFA-ABBA-3513FAF85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4F6F808-9203-4978-99D9-7F419AAEF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8805480-7D6D-4F71-8808-C6B10DB0A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572E66B-6CF8-4E9E-B52B-AA059743D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8BC432C-346C-41AC-A2D3-EA0AEF8BC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3FC772A-362A-46F8-9D6B-B2B5E5D9D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34A93F3-BE24-46A3-8981-6FD4709F5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A5AC7BE-88D3-46E7-B5C0-1BAC129EA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111FE01-9B78-4D83-827C-F951801B9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4BF30A7-19A3-4627-AB41-1B2764982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03D323D-3D51-4326-BCCC-BE1F2F0B2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C2EA3FE-5C73-46DD-8FA1-6E6B79B0B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0F7777C-218C-43A1-942B-C12EA3D62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E6FAFBF-CC00-46A2-993F-3627E0429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2C0C44B-0C7C-4D10-B53B-4ED7CFC01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ACE353A-CE6C-4482-A48F-CE9420A14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3D6FA2-F069-45A2-92EF-0F7AF996C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36D20BF-1588-40C1-AC46-1F3DD4A36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E630215-2628-4978-A279-D00C18332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5D8691B-1E14-4DCF-9355-91879D4EB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36411AD-B964-4FA1-9223-553D14709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501702E-4E27-45E2-9BAC-0B52EFC41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F8ECE60-E024-4B08-B5B5-ED0911155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9172218-72EA-4C33-89FE-27F8090D1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84AED58-1CE9-4FBC-943D-AF31DA787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9ED31EE-7575-4D34-8079-6CD4A5FF2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90D0274-8C03-4953-9CF4-29E7B9511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14FEB43-2670-4DF2-9870-CE3C01EBB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18E15CF-4EBE-4109-9EC6-740A38E3A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40F2863-7560-45EE-8FB1-A639BBD3A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4DB1666-E0CE-4286-83AF-D4FA76A96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6148AF0-4EFD-471E-B0F9-2469B5FC3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B45B0AD-58C9-43C9-BE14-94BA485ED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AE667E5-E39A-4ACB-82DC-4B58567B1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DE1946E-9D25-4C2D-B9E7-EC8BF43F8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9538D8A-5B21-4B1E-85C2-70908894F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6908B8C-FD5E-4802-A8E4-59173732F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5196CAF-AE7B-4ADB-ABD9-518ADD62A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EBCD3C0-45CA-4213-AFAC-62B530442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CAD23FE-B282-4793-A11C-A65F5929D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54EAF8B-C9BC-4DB4-8957-DDEFE17EC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0E1FCD8-41D3-4A06-B1FA-D67AA5B28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6C28125-2058-44CD-AFAE-525CB94A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50D8C9F-D3B7-4F5B-87E0-B63E33E1F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812BC60-2A08-409C-9165-033819163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AD7FEA4-FC4F-4980-8B98-BC38CF523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89F44F1-945A-4490-8A6C-CD3DDD4A8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5444DA4-3F83-495C-BF11-9BA0792A7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1AD9DD5-341A-41CC-A69A-AF0B1A6DF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9A89257-0CBE-429A-8680-80F0E1681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A30B443-8FEF-4EA7-A1B3-6BE7EA2AD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7F9A3C1-77CB-401C-B413-1ACF9E1AB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A49A353-BDEB-4D5F-98A3-E64360377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EB7B26D-546F-42A1-AADB-7A21DFAFC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42C132F-174E-438B-B83E-4B5396EE8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BD6A000-04BA-418E-AA33-E1EC814AD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918917C-B926-49FD-BD1A-44008B1E0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94BACC0-A820-4714-93F4-DFFE68C91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6779F0F-DB9B-4943-AF16-9486D04C0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EA51834-6FCE-4F9C-A1A9-33946B66B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B0F2D21-F17E-4F63-A5F5-90F429B51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A0C80F9-2E34-44B8-81AF-C89D1A0AB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E664CEB-1E49-401C-803E-308B5EE98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41D1534-9E5A-492C-AA0F-020B70055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237F157-9361-4268-B17A-0B2D22E0B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FCCB655-F22F-43A5-8839-18B14D7F4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0B7CDDB-0262-4506-B97A-1B8496AE4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5B6FFA9-1296-41E7-9D53-AB0EE30BB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703F9B2-7E1B-410B-A306-71C32AA3E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E55A662-044D-4F29-BDF3-7F3CAAEDA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0A823EE-BAA1-4FEA-AA30-68A7E4DA5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6241E40-BBD5-4F55-952C-297D614C6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E1BE44A-6615-4612-A234-EA5E34B3F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69C7A71-6A64-49D6-A9CB-F31781997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9E2590C-B175-4B20-999D-60A7973AA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EC41F03-1273-4FF3-AD58-C69AD77C5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D91A989-4987-47BC-BA5E-B44371AC0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858E993-0F76-41E5-AEF0-B4B693635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3D07E8A-5DFA-420E-9E27-79BB09A9A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2D71A43-5BF8-4F76-84F0-03B6DB9CD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CDA3AE3-B442-400E-A051-EAC2BB3C5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56BECA1-3A9B-4179-A3EC-F40AC5993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A1A78D0-91EE-4B0F-94C8-BE92B2235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C6AFA2A-3F99-49BD-9576-61CAB76DE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2D5AE56-7839-4AA6-B27F-B5073B54B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9A8DA12-188E-4AF3-9C57-43B6E5041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C743C9F-A013-4B52-8FFF-8EF4C23AD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7727445-05E9-45C8-AE64-8AEAA7970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534EFAD-5572-4036-8D4B-C701F35ED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5EC5E46-532E-4836-875D-129516BEB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0D9AF29-852B-4631-9A22-05CDA03E6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EF5233F-4E40-4C76-B3A2-99C25425C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060A30B-3818-467D-AE0A-41A2B94F2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E722A20-1143-4FF6-BFAB-EFE577278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E12B6E4-0353-4F50-8E20-457FC55F4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E4CF8A6-E2CF-4142-9BD3-8E5382ECC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B35AB2D-6793-4293-937C-E5295E4EB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B3F4AC2-3D34-4A81-B71A-7A45706ED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32EFDA9-336F-4034-8B1D-D7048318B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F24A4D2-8071-4785-896D-3534333AC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32C666C-1D82-447F-BBE6-3265867BB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13FFB93-19A4-4D58-9A9A-8CD9F60BA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53255A3-1EEE-46E6-85B5-495E8FCEF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F4E86C1-40CF-4959-9A2B-38BC7029F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C605C77-DBF4-48E0-A598-54ED944C5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91B1514-484C-4EE8-8D55-4EFBEB867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6E7D9A4-93DC-4EFD-88B7-EBB38BF38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79AEE27-F1A2-4C6E-901D-004B63560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70AF9ED-E0A2-4DE0-8E31-76C98074A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FB72294-D333-45EE-974C-D4100A76D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C2B5F7D-3B51-4D4A-AD8D-0BE5D51E2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DA0179C-2713-4CE9-8950-4DC475DFC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6D351D0-CFF1-411E-AB22-136E3A3AA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E79FE59-4B7E-447C-8E34-B3FF071FE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9251F29-2FBA-4EB6-8032-16EFFEC10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DF8DB66-FDF5-418A-9311-5D2572A7B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FAADF69-7BEA-41CF-A7F5-3797B2078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D5F3702-F87D-42B1-A4BA-0FD7A3681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DD64F55-4F5E-432F-9618-D0CDCED34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19B69C0-66D3-4DF1-BAA2-F13BECB0F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BACB34C-CC88-4CEB-A5CF-082FB8C8B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E39849C-AB53-4722-843A-FE1BFC3A6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7341ACE-94E5-480C-A36E-3E834E1ED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1BDA76D-E30F-4DD9-B9EA-2BF354D27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16F2D2A-8082-4EF4-AE28-A75AC713C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28D557C-1E5D-4E66-8D71-A82F83F49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50FD75B-7268-4A00-9A93-9FCA0D9B5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7E4543B-A5BC-4CE7-9734-BD20E27C4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3C9A26A-1301-4AB0-9579-9152711B4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CB4CB15-B17B-4513-ADF6-5F0838F3B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0FD5136-4DFE-4443-B579-68C323BD0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A4A01F-54E0-4AF2-B639-D49B07DF5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D9EB7B9-D1BC-4927-81BE-ECC4C63A1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AC61617-1D5B-4561-9E33-08329EDE3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3AB617D-FA2C-4AC4-8AD0-87F18347A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67309A4-E43D-4006-A2C5-CC1BF55D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D0A449B-D1A3-409D-9E3B-C43E3B0DC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6CC89A7-6B07-440F-B2EC-8F9B50A3B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E8C153E-9826-4B48-96D0-ACD61DBDF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7544D97-5813-40D7-A528-F9370911E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348ECDA-BF82-45C9-9261-54739B9A6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E61F2D7-E398-4EBC-B357-A6B5D88D6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B729F76-936C-4E87-9521-731258098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1BFB74E-41FE-437E-B009-4AC359A34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3D2A7B0-D7FB-4B80-8744-ECAE9324E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00889DB-0B8D-4584-A6E2-816237411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B18E843-0F61-4B1B-BCE4-650B90FBC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E8F6EBB-59E5-42F5-BC80-58CF31753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BDF688F-3FC9-4524-BD80-232458C42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F5743B1-CA9C-43C1-A50B-CC5A42B8D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C1FAEEC-D983-45E0-BE03-496F6DA1B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E45FC3B-809C-42B7-9D69-4AB6C0F04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5677B30-896D-4B4A-A05D-396A076C9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055543F-9B0F-4735-B037-4CF0DD852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0399D08-6BC5-44D2-B747-343EE4D11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2E5EAF0-8B3F-4991-A42D-404480D91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8CEEEA8-630C-4E42-8EDE-AB63A49F7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D6A8808-6C89-4914-8AE7-FEF01D6D9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73C3891-10B8-422A-88EB-BD6D9FCC9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BBB1ECA-2826-4091-8A0A-A7CD73610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42F7332-48F8-43FF-B80D-E3A89059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00BC20C-3B08-4866-AB78-9745FDBED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D561E68-28D4-4729-B780-C4E71851E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60C74B2-5CA5-45D5-B271-7462D3CDB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DEE840F-43E3-4658-85B6-8096CA7CC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135658F-617B-4650-A614-A02C27053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766EDDC-7825-4903-B27F-8A90B0F04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3A5E165-1029-43DA-A985-48F6EF3C6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550BB7A-3F60-4100-819D-0D7231F21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109DF85-BA23-429C-85E2-76FFB2235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C5F96DB-8550-4D46-8B54-41254B4DD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207C0BF-CBF7-42BF-A0C5-ECA73DF60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6A8E90C-BC0C-4092-8BAA-243BD536A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73012C9-BAF1-4E1F-8BC9-B74058B43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DA82F3F-2541-4E98-BCB2-89ACE6B84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FAE9894-FDAD-4BA1-93EE-62DD28B9A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EB3604D-EF85-4B00-AC3A-ABC0E5476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C86C8C3-08D9-4716-BA53-F102698C2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A09D6CB-D8E6-4456-A422-CEDF852AA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DEFD95B-222A-4320-9E9B-4FF6F8B1A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FB101BF-AE76-4EF2-9F8E-10DE0704B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6227C47-8E88-4083-B691-1EDCEE46D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5782C07-6E46-409F-89BB-BADDE6802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4D2728C-B4B8-44F9-A22E-2B91BB7BE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5BF42DD-AB46-44B0-BAC8-895B72DB2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F533887-E534-4F3B-9D95-93FEE5702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384B117-6F48-432A-8F20-9EE74DC95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B8E09A-5E5F-4E73-A121-97E0ADABB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754E0E-EB87-41B3-9B72-7AE7912FE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F1E1866-B3B1-4CB9-AC12-888F99497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137FB09-4203-4C21-85CA-C6B5226C9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6137CBD-703A-42EA-AC8D-E019360AE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9B462D2-87B6-4102-95C7-C72D76D80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E789CF2-7D33-4AE9-9888-9AB388564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1A6D6C4-7D24-4ECE-BF2C-787BDB2B3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E2C9D08-574C-4D7B-BB1E-FF0E924B4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12B312-14BD-4CD5-9CD0-D94D6BCA9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BD1BE22-E1B6-469E-AA0F-D1305A1B0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997E8FC-1A59-49CF-B262-0FBE6B268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99EB89A-0F73-4CFC-84F9-60F3E760D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8CFF43E-61B5-4DD1-BE0D-3454769DB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188BF57-0AEC-49EA-BE76-479D7A51E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D7FF130-5087-411B-9927-552BECB7A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3612A61-C070-42F3-B819-AF025639D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85B6876-38E9-4AA8-8777-15C78910D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8859937-E54D-4750-861C-2D41A9F9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3D1128E-440F-4262-9FA2-5F36EF361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997BDB8-CD89-4667-B8B9-6FC95FB2A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286F974-A7CA-4216-A201-B30C413D0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DDF4E9B-A165-489E-8EED-450C88DC2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2AA77F2-17F5-4587-8452-2FE16B829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071CC8C-5447-4CFF-9BA2-D6B0E411D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D087488-284D-4EC1-9E67-ACF7AC757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E920FBF-09B9-4569-9115-AC931D01D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8DA0EB0-C2B8-40DE-97A8-321478FEA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4DBA6A2-20FC-472E-905D-E3C4C602A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B82AFA7-A1FD-4E1C-82C8-C3CE46FAF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0C9C0FF-789C-42EF-8959-9E9D777B6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58773A0-036D-47BE-8DD5-17BACF8F3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8FD4CB2-CD8A-4E09-BB29-F9FB6D5B2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DF2849D-9942-49DE-B871-EA217A73A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39132CD-6EBA-48EC-94C1-C5B540FCF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9D7601E-FD26-49D0-BAF1-B3E4CE985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FD9E103-0BF0-4B6B-85CE-F57D36050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A6E8492-1185-4CCF-A251-31895259E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3BD3078-CCD2-441D-8640-AAD380758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E099AE5-20C6-4446-B7F4-87F2DF825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5AA46B6-1AB8-41FD-B165-1AB9FB83A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E44B410-E45E-43E2-A1A4-B5A741611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02DE66A-6635-49B5-8EC6-8E70CB057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4D7A6E2-DC6C-44CA-B8A8-3ABEBAD98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6E092DF-4B8E-4BC7-AD9E-4F5B0C1DE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EA69D63-2393-4AA9-BA76-9D06CCB85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26BC375-0367-4DC3-9BCE-75D08DDCE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85655A5-7740-449C-888A-4BB9E96D6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9025613-B536-4D48-9536-86A691EDE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F3653C0-8D12-4D8F-9F66-3AF137AC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678FF9F-AD45-4BA8-B0BD-3F7D81135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C2E5BDD-9B9D-43A8-8B0F-5E7B7AEE6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D69A35B-A144-42DA-93F9-B43FC75B3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A6191DF-6B21-44F2-9AA5-8DA4E5385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23B139B-90D4-4B01-A5C6-46AB4D5D6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AAF8F0B-AA00-4BBC-83ED-C6BD25883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67986AA-D870-47B3-A4B9-87E1DBD6C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DE54BC-A483-4B43-89D6-40964DDF9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BCA920-53A9-4E77-AFE9-D2912C44C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CE55F39-3417-4CB6-B6B7-C4AF9374D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FD02E6C-045C-4F89-98A8-477FEF99E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402AC6E-12E1-4B8F-87BA-CDF2215EC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3993F62-D3AC-451D-9405-4627365A5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A4F6157-5CDC-4CE9-8C82-8A6A3D35E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F3D1F61-F9AE-42F8-A7FC-9CD86223E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F8A340A-25D8-4179-8F5E-5B20017D4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C098F8-A0ED-44AB-A0CA-8D28F342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CE4FC94-6CA4-4193-A0F1-08681996F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9E602C8-759C-4F3D-AF09-FD1E0914B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7709296-9916-42CE-9DC9-8164FB20E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D0345CA-48D8-4DD9-A45B-B813CA99F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ABE279D-54ED-4FA0-AB53-E6796E7CA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7D81BD3-27CF-42F9-A59F-DAB4BF5C6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2A317C6-E705-470B-BC81-57C97A14E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8A859DE-1A94-4688-B186-399A480B7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35A628B-1BFD-4A4D-9CF0-2FEB39F54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18FE939-102A-43BF-BE93-C386A3152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E9E60C3-CB8A-42ED-9BB5-B8144FCEC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82776B9-DF15-4347-8C8D-481D21058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7262CAE-F63D-4D38-86F8-4FECA8340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51C5931-1C13-46A4-AF70-39EC7995D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4DD869C-719A-4165-8DD8-DAAC4632C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B018D6F-1D9F-442E-B119-6962036C8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2868C63-180E-48A5-A5A6-F64F6A617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86D63B4-489C-463C-9056-91D43588B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F905B87-97C6-417A-879A-21C95EF55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62DF396-9D78-41AD-B519-B0861A8D9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F957130-6AE8-454A-8EB7-AE4D91A1B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2CD2980-3EA7-4338-9128-185F27629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C7B02E6-F76C-4BE8-9960-DBFEEE599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65ED9F4-5BFE-4F82-92BD-08447E058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2C5934C-74E4-4092-BD1F-DFD1C3F9D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F21B401-CE37-46EF-90EF-22E0C26E5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D810AFC-E15B-47A1-9EF7-379F2F132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5436D12-BE36-41D7-9653-E80117323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41A4059-3BD1-4D94-A1D6-1ABC14D51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E9571BB-15BC-4E6B-AACA-E5089449A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B45BB81-B4BB-4747-A312-BB78E3E8C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9BEEA92-E54F-4368-84D2-09FCE1442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AE0FE81-3CDB-4001-A0CA-321884094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2467B78-15E1-48F3-94B6-AAC263AA2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6C0FC66-1CD1-4AB6-B476-35ACC9CC6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2DFE228-8B53-49AF-8785-80F8A94D7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1666A56-E198-4711-8C91-29D6299AF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91C5723-CD7B-45F8-8C56-7C6E0ADA2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3A4CE2E-799E-4AEF-A3A5-D34730C40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6DEEC10-0E26-44C0-B94F-819C2F72B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DDE0179-CD3B-4174-9680-06C8AB27C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BFEF1C1-1690-4045-990F-5108CED2C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AA628A4-0F9E-4555-9E77-381D532E3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30D27E3-0948-4541-85D6-16E8575E3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25BBEA9-5B8D-43A3-824C-4E47017A4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07452D5-8B78-4CF1-9E2C-928871C43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79F0B1C-321A-438E-BCBC-5FE8D30FC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5D96430-629C-4720-A11C-33DE41F95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6FC7834-A28A-4BF2-8437-BFD98CF71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CD591EC-9BDD-4977-A2ED-5E3EEB815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86B1E7B-6E29-403F-AFB0-3A52D7392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C0E4625-0405-424E-97BD-E029DBCF4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D339F17-DAC4-4B3D-9BED-2D4DE5B74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D61F60E-CACA-4B7A-8C28-1705E856A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8DF74B4-1045-48E7-8D35-EF71095DB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C145EF-6613-43B8-89B6-B743C6478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BF3747-78F5-4FCB-9BFB-0F7D11201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4A88924-DEA1-43ED-AD25-FAFB1CC4F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D31F9FE-A998-4F2C-B6FD-7B19C04FF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49BA2DC-C56B-410F-A7BF-5EA69FEF5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11D2525-99E5-4AE0-8AF4-9E9E2E968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023042D-6963-4ABC-8B3A-C707A089E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FD7B5C8-0E82-4974-99E8-59085ED39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D3938C8-CD03-4688-888B-7C4B76551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921B9B-C62F-4AB3-B468-4BD99D1EB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FA5775F-270F-4BA3-87A8-4DBAA52E0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3AFF848-DF42-44E5-B673-3C2F7DE03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51DCA53-CA1E-4E56-B6EB-C8DAE6BFF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6796083-1D9E-4A21-B670-42018DF3C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F576DDD-727B-462D-BA3C-5C127A660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855FC96-04DA-4AB8-A3BB-421707696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33670BD-C244-43C2-9C06-211315731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3606594-517A-4A6D-B638-8BF5D8AD4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E7BA521-61E1-432E-A841-CE3E340E1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8D12D98-243D-40FE-87EB-D5EEEC4D1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E1A2016-FC91-49B3-857D-3EA753E51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18F830D-595D-4485-8F35-BB331172C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73F3ECE-9E28-4902-B770-8EF93C742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0B56318-E42E-4F1B-A08C-DF1396FED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CAB5C39-D0E4-4917-8310-54B65A6C6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AE6A24D-A1A9-4968-B759-D2C2C70B3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CA78E01-9C02-4D78-AF1F-E3CE7F0EE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A72DDC3-D986-44F0-83CF-A500E4E2C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E370EC0-6091-4840-9A53-39DD57740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F7F3D79-E9B9-4DAB-8DF7-8305FF44E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EB9C37D-4EBA-4797-AF72-D7EB99F50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CE84260-7F7F-47EB-8800-E6ED38DC4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AC29364-D127-492C-B982-7CC423DCD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1878B89-CFC0-4C73-BB07-095C892C9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3D297F0-2093-4C5D-A2C8-7BBF335CF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9B447D4-F03A-4C50-A4B8-678678CA4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28283D6-5354-450D-B460-A5E379733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EBA77E6-C610-41D1-A0B4-117CF7CD5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C194104-0514-4B35-9FA4-4D074A21E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0981C3D-8353-4278-A4A0-3DC550886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7B5B897-D1E6-4038-843C-0A0D7765C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EBA567B-150A-41EB-87A6-DF8A263B5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FE498AB-5C59-4D2D-BFBA-1AB573232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1FF6B4C-B5DC-4AEB-A650-FF3EEC525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AECE673-8BEA-4C52-825A-D1E17017C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6B897FF-13ED-4897-B782-930EBC41C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878C4B1-5AE0-405E-94F6-3DD652C07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EE4EB55-9911-4E44-A9AC-81E6090F9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2AE2201-B411-475A-8D34-241D0D6F9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08742EE-8A51-4BD5-848D-7E2D5A31F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30CC282-B1FC-4EAF-9960-5C8F080DB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E5A4308-A735-4901-BBCF-C83F1BE07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D083F72-32FF-4F2D-B235-A51A7D8DC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86AFAAE-610B-4C97-B519-361DBBEB6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50C1DC0-F9A1-45DB-ABB7-60987826B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CE67F73-7A7B-426E-9C6D-FCDCAB1F7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ABC65E0-B77C-440E-8633-39A6EEA11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115F7BC-CBCC-443B-9E50-B40F78F98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3D42D8-1C3C-4435-B177-908C09BEE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59FCB26-94FB-406F-BB14-070E3A4D7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140DE80-E1D8-4FB4-A19C-594B7EA3F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0A0D061-0629-4145-9B1B-F280999EF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2F3CAD-C3F4-4CD2-AC79-91E6CA333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3461FBE-F9DB-4663-AB7F-697FCD552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44FF737-8610-4C23-AC2B-22F35C321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78D5914-1E20-417E-8036-C73BFEA8A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9596FF8-3C4D-4B62-A34C-2301D091A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16EDF37-F690-47CD-92DA-5CB887315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9B90947-7000-4198-9BB6-E27E922BA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89E0BAC-12BD-4DA5-B5EA-CD9BBA595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31617C0-31DE-4095-9677-359C06180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C921DF2-FF11-448F-A0C5-DE953DB70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5F8F1E4-138C-4E06-931E-895ED1D96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81CCEE5-6AF1-46CB-91FB-3E154B5CB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E614394-036B-4C7D-A871-10A5973F8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B788E15-B35B-4984-A255-E1A2D3501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C4D66FE-D853-48DF-9262-534E4FE98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9302DF5-64D8-48AD-A6B7-7BB19122A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3E09F9B-0227-4DD4-AA62-ABBDBE2FA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5CC9413-3B1A-488B-A7EF-E70BB3F1E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2671D0A-9BC5-4DD3-886C-04F9F801E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D770060-F550-4581-9D6E-3F56DE9C2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AF6BA6C-67FC-49AD-82C8-987E29402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2B59914-4C2C-45AF-B13A-39CCA0DC4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5D8EFE8-E5C0-46DD-85D9-CE5D977C6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5071E82-B04A-45EF-A196-1A37164B8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A17F997-F661-49FD-96D6-16AAEFFD7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5019572-DBAC-4F41-B701-D63645AB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7DEEC4D-F4A0-4E07-B5EA-9CB7AFA0D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8BE1A85-A776-4929-9BA5-F9650EB6F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A2A7722-58C6-4F96-AF4B-2276958E0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6969B8F-444F-4A12-99BB-545479FED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EB92C72-07FB-48AC-ABEC-159361291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473AD2D-EA9D-42DD-80BE-E3A39E4AC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02C276D-8848-475B-8DA5-CD600893B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DE3C0B0-EC3C-42C0-BDAB-BB636AD87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E4AE5C7-3224-46F2-9A6D-77C6912E4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B280368-2862-4E4C-B68F-B976445F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6C3B8AB-4D7A-4062-BCD9-4BAECFDDD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5EC473F-543F-4574-805E-23D7169BF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E1C8E75-E31B-4A99-AD1F-4EFE54BD6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D3F77CB-3A59-4D1F-BE7E-C6FE68F5C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6A6A65B-8AB6-4613-A1C7-E5F046005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5A4FB8F-D6B8-4984-8FF7-F512AE807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181E3C4-888D-40AE-922D-E1EA2EC29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36F4964-124B-4375-BB89-A74A6BC0F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A79CC77-306A-453C-9522-181B4C909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7CA956A-EF0B-4801-BB7E-BF39AD40F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221699C-11B7-41A6-937F-0BF09260B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C46808E-C163-4571-8A18-3681D7B3F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9921775-4E86-48F5-A115-AB638B69F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5CA0727-EFA1-49DE-B255-DE7AF3886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538B85E-1808-40BC-9567-E5A71E7E2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710DF32-DA6A-4AE9-B7FE-CD81FCE06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3918AFD-DB6F-4995-97DC-D92C826DC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8C0E1E-1E37-4CBE-A3BD-8E0C0E2AF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C5A312D-3609-486B-AECA-324F84BD1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2839E68-567F-4E13-A22D-480D23016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8AC4E00-F402-473B-B94C-7EA798A3E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E76023D-5B67-4FD2-9FD7-0827ACD6E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23C4B9E-31C6-4F1A-855B-C618BB8DA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A54B093-531D-49CC-A172-BAACD3C9E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0BC3216-9D91-4C3D-822E-AD3E5B341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F32B1C8-695C-4AB8-A526-BF1A0BB41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8111607-502C-4357-8836-432FD9889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FC728E5-76F9-4B18-A98A-07CD2FF51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69C6043-045F-4778-8FD8-AB7B63C4D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9C7497D-A3CE-439C-8468-F2C2110C6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0468DF5-C6A6-4947-AC1E-C51F6AA36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F37F8F5-5E52-4395-A402-EC1A1480E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CCB6C41-4C62-4F31-BC0C-CC04B7AA8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C0FC4A4-D8FC-4B62-8067-9D671C1AD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E75409C-1F60-42AE-99AA-BFCC3FC5C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8143EC6-BF9E-4115-BF4F-458558BF0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0816CB9-DFF6-409A-AE6C-EF5DB54C0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C63355F-2DE8-4862-80CA-A33C17370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52364BD-615F-4735-B5B3-53215869E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FFEBAC9-3B7B-493F-8746-7A1FB6352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419F8F5-0345-4372-AD46-C05268FF2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3D272E0-FA0F-4E66-9EB8-E3B89E6F0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823292B-E705-491B-B497-1F199C407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6DFA6E6-DFD2-4140-B116-F60DD5EA1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044906D-B02F-4236-8E46-B852C7CB3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6E917FA-B9D8-4097-8203-597849D21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1AFE26D-F327-4B68-9304-CF6B7EA0C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25C50B9-61C7-4D91-989F-8D47C9ECF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9CD1115-0822-484C-97E3-4BA245312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446CC61-48BB-4187-9D60-7E2698A37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62CA49C-3C1E-4636-97B9-657CF7C1A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A84F005-AD6E-4835-B481-100D654EB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7D8D9CE-D7C5-4BC7-99C0-925162713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6BCE051-38AC-4441-BFB5-1A09038DF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E691D1E-CAEB-4083-B85D-E2D3ED742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9A32D48-2A50-45DE-91A4-C27D56BED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214D0A7-9794-4B37-AFE1-09D3BE695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FFC9FE5-C70E-486B-8FED-59CDDEB40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297D371-0FB7-4208-BACC-97C08D13F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1E0DA51-2FAC-47E0-A124-1AF32A889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9E4E159-FDA0-459C-85C2-57CCA4489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ABD58DF-9D3F-4BCC-B270-86D2F34CC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C477D3A-FA0D-4E1B-A316-2FED1BA75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D28B31E-10EF-4FE1-8750-10AD5DB4E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93F46CB-2292-479F-B8A5-B45B235E4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EE5CA85-7CC4-4E08-8F7F-AC6A638C1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7208D08-964A-4DE9-AFB2-FC4FCD1CF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689DBAC-8079-4E3F-8FE7-C10660726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EA5E81C-D1A9-40F7-AFF1-33DFAA16C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441836D-04D6-4700-ABBC-1DDCF542A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1B0E442-92AA-493A-B4EF-9ABE49A42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413EA3C-ABA5-4E6F-95EB-1121BEE3C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251BE93-CBE8-4B98-8F6C-637765D1D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AAD60EB-0AB2-45B0-838C-6FCD79565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9435AA-F77F-4DFF-84E0-D3EB10C1D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12783FF-3C5C-4EAF-9FB7-2571A58FF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0AE1B65-E797-4D55-B491-370992795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1F9087E-D94F-46EA-84CC-FFAB717DA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E4FAA9-BB00-46F7-A187-B936E41A4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0CD40F6-3F02-4348-B3B5-070C920CB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8E20591-E2E0-4A17-B1AF-B4C6FB7E8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9EC5546-9060-4EEE-BEED-E80A84F86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A1754C-6531-4990-8D44-ED0CB0E44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24CEE0D-0029-4988-A88E-41F621ABB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684A2EB-A804-4273-86CD-5DFD7368F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EB8477A-E904-4EFE-A4F1-60DF118B4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199B693-A269-42AB-9C62-1FE58E2C8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57BDDCA-3CF3-4030-AA92-83C0E6842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CA443A0-63CF-43FF-9B83-064AF3A11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5C0C46B-FEE7-41F2-BA9F-372157F47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EF30A40-F6E1-47AA-A606-61BDD0480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69CF464-A620-46C1-9E2E-1E11BEB61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9453910-9E19-44FB-A1AC-5C0FA41A9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369599A-859B-41D3-8224-4B8F6EB79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AD7E990-EB85-4C46-8C1A-430EF1EAB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94EEA76-0836-448F-8D8C-91DC78FF6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B22E0F9-FD49-4F7B-A614-0A9472008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191CDE2-11ED-48DD-BE47-7DD20863E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BCF2DEF-96F2-4C71-87D5-F5DB5F8DD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D6F3F4A-89A3-48C0-8728-3EF615B42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655FFFF-EEC3-43E2-A25D-AA952CC11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806F948-2194-4CE7-868C-788020374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2EEAF9C-ECF8-4039-AFE8-49F5EFCDC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BAE020B-7C63-4502-B63A-801356921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4881186-596D-4C4F-83FF-8E01BDCBC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EF7E1F5-5525-4E69-981F-2E5ABA9EC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18B288E-C269-42A1-9E9E-196289557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D3E3D36-81FD-4862-815E-EFFB9B74C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74C0024-3ADC-4D0E-82FB-A56509E94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4B71CC2-4A83-4BFB-AF52-C6AF8F7CF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647A2A4-E614-4763-B04B-8BEE810AC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7829361-0C3D-48C3-A624-0190CA236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ABABE48-939A-4107-A511-BBCB71E83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7A0EAF2-FCEC-4D18-80F8-E96BF0756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676D9BC-5679-458A-AB94-C682A1A09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03B96B9-B03F-4E83-A10D-F38CF5C60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C5FEC0F-DAA6-444F-BADD-B6D8D489D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D8B002C-54DD-45B5-97AD-F56AB5850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8FCD991-09C5-41D9-B504-0A4CCC833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B17732C-C498-43F8-BA30-0FCBC5DDE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0DB33EA-C095-4182-AF2C-2C4F659FD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3FD7273-B185-4063-AAFD-2D4ECF952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FEC23D5-D324-4907-878B-9D0D9CDB1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749D37A-E78C-4C34-9BC7-C19CDFF72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2113CD7-FFF5-4BA2-8576-9D762AF86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D856AFA-201A-4667-A52A-71AD897A3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CA7A066-C0F0-4BDC-A8F4-38282BF76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4EF08BD-069A-409A-B194-602954E35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9010788-1794-409D-A149-5CED91BD1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0983515-98E9-455E-AAC8-AFB5C49F1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B912D61-1289-4038-9889-18D7CB440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5DE6C3E-DD8D-4ACB-BF2C-EC0A160E5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52073EB-1B19-43E7-B893-60503EA6F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27A287B-1420-4BF5-8855-C1DFEEE92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16B6DB3-D262-48EE-8BB7-0C5494F45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BCEDE6C-953C-46C6-990F-BF2070CDC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1A69B66-F9FE-4E90-88E6-AB9DC7741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2B631FA-5F35-49F8-9158-0D746B9DE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87950EF-63ED-4202-AB1A-220FD47A0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B90F814-3FD7-471F-9095-37CBB4DDC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3E7F3B6-B3FD-472F-BD16-D9B3B21D7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A147728-15D5-4330-BB45-52256A7FC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81299AB-0F66-412A-A00C-B555D1A1D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1C0E890-9A2A-4E60-8019-C21B164BE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26FC90F-6B87-462F-BB8E-36817EB6E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4048BE2-3E09-4031-9401-3F42D1A1E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6CAB124-C410-4E4A-8699-B056E44D1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BAF64B8-F0DE-4586-A833-9575064B6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7004FF3-E7BF-4833-B614-FA235EB54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99C4687-26F4-453A-B694-9864183F6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D4057AD-95B2-4241-81D6-EFC64D641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2F63602-E4BF-4C29-8842-B88499A2F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A051964-8615-4775-8C7D-0C6FB2966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BAE8843-6AC9-491A-9227-40A800992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31BD481-4D92-48D6-9E81-0F66C938B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3D28085-8EFC-4754-8C2B-937F51A4D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16B0A35-3726-4B2B-930C-A99D4C46D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1FE32BB-96CC-4FB5-AF90-4FF2F8370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AB846AA-840B-41F1-B561-4D24018E4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FA4E6DE-1A97-4067-BE8F-CEB55BAF7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BF8C693-D823-42D5-BE9A-8B87A507C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A672DDB-4ADB-44D8-A26E-C8FBC2A7E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5CA2E02-A299-4320-8B09-AB1B28708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659F8A9-1B93-423A-A65D-40FBC897A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8300A3A-C416-44C5-85E4-BD996B919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1A8A570-4F01-4BF2-BA57-67CD76EF0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7E6092F-FCCE-43FE-955B-6839736EC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6B16E55-A6E4-48CB-A0CA-774EF53EE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FCD578A-38FE-49E7-AE37-73158757A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4252DFC-ADD6-4A57-BEC5-18A04B864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D6FF873-AD80-4C18-8A60-852460F06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2412892-9F44-4456-AECA-46DF6728D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560DF4D-579C-4492-8F6E-B0EDA53B9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4A99433-DFD5-4FD3-9A79-F78B91A2E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E02BA7F-BD78-482E-9D01-FA3BBEB66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D76FEAC-D895-402F-847E-D7D7BD2F4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9246AAF-0FD7-40CD-8E7B-D7E61DD4D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4864D56-36F2-46D6-B086-D2A83BB19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BF45C48-9190-4126-905E-EF5AC083A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D3014B7-8A38-4A75-B494-A7564F11B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0E1ECD5-6902-45B1-91FB-7A8E582EA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464E0FF-4522-4E0E-AB6E-F08C359A0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2CA8B3B-BD1E-4971-B5C0-4A3BC715B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3B4B3A9-0C12-4EE0-9C30-F84CA4701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B3FBFAD-1ACD-4654-847B-F03000AF5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4C29545-B178-42F9-B91D-0633602D9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923143A-33C1-46CB-8ECB-8CE702E3F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D646D3-54DE-4040-8E3A-C403AFB45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5AF4AB2-38E0-446E-9F93-AFE3AC39E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EC9ECE0-61D3-44F1-8206-94A9EDA6A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DF302A0-AC04-4893-A9F0-5A3E88C37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C2DF575-C136-4FB6-B47B-3CEF032D0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653719E-91C3-4967-9E1A-D2DAFD541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8789C97-73B4-43BC-A83F-B10FE9E4C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1A789D3-6A31-4762-B4EF-8EDB5E175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5C638A6-91D6-4FD2-9C30-34E52A02B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1E3BCC-54A0-4505-AC8A-41C8B8950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5F58D13-03E2-4ADB-B3A8-AE42347B2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53939E2-E72D-41F9-B589-8A8ABFE18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ED8F331-FC85-44A5-805D-420BB3607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3935412-E0A5-4317-8A62-7C5BC46DD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1F108BF-27AF-42B2-B872-DAFC0F731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CDE364D-5B42-458A-BD0E-A719FC623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1337B1B-8712-468C-B746-99BDFF9B5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1120868-E1F5-45C2-B6EB-EDCB885AB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7A11E88-B2E1-4F17-85D7-F7E79A5D1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45E0244-A16F-4582-80AA-73A572D4C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DBC5E65-6D4F-47BE-92D9-FDA7F7C3E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E615C87-F888-4C29-9AE4-3E0584415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2408C06-8F4E-4F45-88D7-F34B826E8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F4699DB-D4D9-4046-8344-52CEC143C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862F493-21DD-4FBE-93FF-30C57B930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8810369-52B7-4944-AF11-F246143D6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3D08FD6-D8D3-4521-8B5B-D8B42A230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0451990-D374-409B-8509-EB5DE4AE7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FFE3B67-64DA-43CE-BF6D-4CF588775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B7AB832-122C-46CA-A3BA-4B37CB5A8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F7CA497-143B-4F88-A960-D5EFBA5FE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6DCE15B-D750-46B1-B800-B3E1622CD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485C721-5C4C-404F-8121-E480CFD7A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FA58F80-178A-4C99-8078-AA20301D2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D815749-0F6B-4632-BC72-A859BB92C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1A25286-429E-41F8-9EA8-CAC203582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1266831-29C8-450D-B091-86715D593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F8F251D-3FD8-4317-9DEE-8E8A60543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AAA74C2-A9DF-4E74-8FFA-E29BC5A13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653F772-8943-467D-BC5F-FDD4BF3A6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CA34905-4815-4C15-9ACB-8D986E878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70CE037-9860-43E5-A29E-BC5E14F85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EEB427C-7AF2-459E-B7D8-D40A34FCC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26EE994-0A87-442F-AA62-53F7AEA88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604DDCB-B3DD-4C60-9B88-0EC184DE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172D370-5813-438D-A7B2-0BF9D7D3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F93FAAC-F112-4D5A-A004-5F36BDE2F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76EC171-47F6-4525-BC95-01DFAE468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9132A19-E6C3-4A0E-BCE4-783430488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575EDBE-AB81-4348-99F7-22C645408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87C3A29-D974-490A-89AE-7C3A32EEE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F87BF4F-7F0B-4116-A70F-E6C64199E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A0F33ED-3CE0-4D98-AB66-5427FEB16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F513525-584D-47C4-9C50-FA5477007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BDC8133-613E-4A2C-A324-05FF3264A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C37DB95-DD07-4F65-AE51-BB9C5674E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956DB0F-4F4A-40C9-A6AD-095F22F9E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F5CDC0-A9C3-44CF-9B20-603A5800E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483FD3-1EA0-43F4-B6F9-D0AFD56E0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6B7E318-E670-4294-9608-8AB974494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072769C-FF64-43E1-A96B-0F3B6D55D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EAB6E1E-6BC8-4039-9004-BB2779CE8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E7C89AF-3B29-4F1F-8EB6-BFF25C7FF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0885BB9-0F2C-4BEB-AFEF-EBA411B9A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0927BBC-A7E0-49A8-AE27-324487427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EF8F8CA-0CDB-47B0-93A3-EE789962E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1334E80-40B0-40E8-9ACF-A8F9391BF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F2550B3-07FB-42C7-9933-45BAB26E1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D29399D-B9D1-4C98-85E7-1CEB2FF40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DDADD9A-3FD5-4ECE-873C-FA70A11B1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AAB25E5-14ED-4C6C-94DD-C64823D1D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9401389-280A-45C2-A8B2-538CCF14F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CF24047-C6A5-4808-8EC3-1E522C38D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23FB68A-EF00-4433-8592-DC755DB19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1EB8A2F-CBE5-452D-A1C2-104AA72FC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B219137-F95B-40C5-AF25-B80207C26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EE44449-9545-46DD-B94B-EC8795AA9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0181273-76E5-416D-A281-1EFE33D42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D0AC8FB-294C-40B8-ADC2-177CB5864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675F031-0244-4B6D-9129-8F8C6277C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A3834A2-8B09-458C-9D1C-3DA9480E4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8A48720-836A-4B3C-9B91-1CA6B8570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BAB16E3-3CAF-4C32-8FC2-51913FDEB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1BE158E-294A-4BE5-A590-8B465DA5F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2FC0EAC-5614-434E-9548-B797E3735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C70A9B7-2777-431D-9D86-64A9E9C83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6CA75C4-A4C5-4870-9D8B-21515F785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12424D1-F6CA-4FA7-83DB-FBC37E42F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437C755-5866-4601-98A8-D853DD960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21EC626-7658-4029-B596-D77915737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D981D6F-C711-4C76-A843-A1CEE2FA0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65C528E-BFD1-4971-93F2-909105F82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7C27697-D3AF-44C3-BE55-F0E72346C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99D5CB8-250C-4ADB-9FCE-BA71CF957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AA9B532-909B-49F3-B53B-65823C19E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1526C85-EA32-4B3B-9E4D-2FFA063B1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ECC5D86-D553-4FEA-BB73-C3CF7421A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5E27733-EE0D-4F35-98CC-DED6A4A39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7DD7249-E52D-4E1D-8A80-EB6711001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5B4F016-0DDC-4BBB-9DDB-B5C0AFA51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498E06C-8686-4668-A1FC-8B935DFCF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BBB1C66-08A1-4872-87DD-2482AB99E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A3F8E09-7B7D-488F-97A4-97472CEA0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0258959-241D-422D-A6D6-0DC4FBF13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DB6197D-D8CD-4E40-A6E5-7F4AE8305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33985E0-0A88-4E61-BBC8-AC5A7EAD8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B53218E-95B8-4DA0-AC80-E16BD6362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E9C8722-E4D1-4548-B29B-0D164B50C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BB2C1EA-69B7-4D3B-8FD4-16B57C9EC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B07BC52-E7F2-4774-B0BB-A4FBD91BD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D4B040B-6E3A-48C7-ADF7-7B9445953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1A52CA8-430F-40E7-B16D-129610583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9B940AA-8570-4776-B69D-31898F945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BF56DB8-F84E-43F0-AD36-E594BD33E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F76E07-1365-40F9-AF43-51EDDE237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6F716B3-CC46-4085-8367-3616C9706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25CB50F-3E0D-4CE6-95D5-19680A923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67CEDAD-ED7C-40A7-A3E2-8A89ED7C7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2BE169A-1055-4E00-9044-A1FB2B722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0CBB2FC-0318-41D6-A7FD-FECC64916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9059AF6-ECBB-426A-AA4A-D402542B8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4A42C95-50B9-40CA-A52E-F34FB24B0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7268370-7EF8-4C93-8199-D4B14643E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95AE57B-3B5A-435C-A952-FD1493073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893292E-44F7-443B-AAE8-C9E531C72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8CADEA4-E765-4013-A3EE-C3809335B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0652D13-112D-45A9-A8A7-F3223B0B9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20D1F74-BBAF-4BCC-BD79-7CC8447FF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AAEF995-FB65-430C-BADA-A1830FB80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62B5AB1-1702-4D24-80EB-CF689AEB2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8D33097-2C49-48A1-8677-83DDB7AFF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5A5432D-F7B9-4348-9B58-2FAB6907D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03799E1-756A-45D4-83DC-154D4B4FE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1C117F2-E7BD-427A-A8ED-4E9DF1E1F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0D3BA4E-0E86-4A91-AB0D-89AE6EBC0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0E48C71-AA08-4DDA-ACAA-7ED0CD3AE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2E203EB-E7D7-4DCB-B5BD-A8C62333C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B44D6B1-3ECB-4D77-8ECC-67FE01776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EADCDC3-1ACB-48A2-865E-B40E81810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B6E231F-27C5-41E4-ACD4-8AA37F724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B615481-B2FA-4825-AB77-E4B84DFEC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BD66333-2606-499B-81BE-0C2A00214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498FD7A-DE97-4B22-8FB6-B186226F1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4C581F5-50DC-4C0A-BFC2-09E78E5B0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6656103-2D7A-42FF-9187-0D631360A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302CADF-3AFB-4F36-A6B1-57A0D3278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CCCD2BD-32E8-4AB9-9FB5-BC07FA9BA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0F6F14C-FDCE-43A4-91CB-E0B043B98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39B0915-EB29-4806-BCF7-869E48177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8F3EEAE-84BE-4350-AAEE-C154A57E3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9898BAA-2F6F-4B0A-A55B-6BA1A3EA0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1D4284F-C7DB-45A0-B860-59090886B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2FFA182-A188-4242-A2B3-6B538B3CD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66BCD52-0DA3-4006-9839-373CDC85D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72C4FA3-24E1-4C0A-ABD9-B3B88E758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A18831E-066B-446F-ADFC-1DE71C159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AE2920E-B020-4D3E-AC1B-8EFC9974F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FF1C979-0025-4756-942C-A71356CFE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8D9ED1E-B87B-4458-9851-72485E5F5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00C36F7-2191-407D-B0DC-D4F60681D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B9D4CCF-AC86-49F7-BC4F-FD4FB0DEA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BDC427E-E074-4F74-B63D-71FD14551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B3429F7-ADC8-40B1-BB6E-FC94BCD8C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C4E6E92-354B-42FF-BF1F-2AE54B1E0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7ABEA32-D1DF-4562-99C9-65F3082EE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813571D-5A21-4E0A-A1C7-9ABF9D518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E4A674D-6516-451D-9007-1999515C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37D6C10-67AE-4539-B436-BEA3953E5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3A5221D-B3A6-4CC4-A1D2-68F8AD35A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20CEE8A-0E9D-466D-91D9-01160C47B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0EDFF95-F813-42BC-9D61-23DB12E48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D898993-9268-4385-A15C-7D9B4BA1F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A8E2D2-EB65-4792-BA6A-09A44F130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A03CC06-8C3F-4A7F-A785-481FF6321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A1718F-04EF-4927-9472-7B752DEB4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EAA55C0-04B4-4D3A-AF0F-DDABF45CD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087B255-A533-4943-B69F-096EC54A5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9960EB5-DC0F-4B2A-AD05-2FFEF0280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1E1FBA1-A82D-42B3-B391-55DD977B6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D6A5A17-A558-48DA-83B4-7A33F7EA2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55468BF-49E2-44F2-85CF-7E27E1AEE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F79C629-320C-43C7-805C-16A3E5DF7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406227B-1AC6-4A73-A3EB-79C12B25E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30F4D53-E48A-4ED5-9D1C-1B648B9B0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BE27E50-DD55-4DF7-A3BB-F728211B1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C3305B7-6016-4D3C-A218-29D3DC7FB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1468F2E-91CB-49ED-8B77-0D761F505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7591249-86CD-4769-AF14-ADBCD2BCF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84848C1-AC16-4BFB-AC8D-8EEF600A1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70BA666-16C8-4A12-A5C7-C9B6F9648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876791C-80E2-4260-9DCF-7DCCD33CF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C7F12C3-5CBA-4F59-B890-5B4722EFF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C400A02-9E5A-4E58-AD5D-DC93BEEBA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E534266-F493-4891-B8F3-115010F8F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58EB027-51CB-472F-85CC-3E1C9C5BF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ABB7AD5-BA2B-40B0-81EA-EA3557D8A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062753C-CAF8-4AE9-9D98-43507F516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7809114-C4F4-4FA0-A06D-08985BA3E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5EF5CE1-79D8-41E4-B787-E8B15E710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377A5CF-92B4-47D3-9538-1F85DC1F4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73A707C-D40D-4D87-9330-0CD4E0216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9C76F8D-0B95-4942-9517-30E802806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D462DD6-0EA2-4396-B583-0F16BC677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56425CB-CCC0-41A4-9C73-C77D9A60A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B9975C4-5D4B-450D-878D-D632E5AA3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AFC5A1A-2C12-4883-AF1F-543F82F1D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32DD915-A56F-4283-8672-37C6E9F5E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32BB75A-8EDB-4F8E-A55A-83B06AECF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F1E9F4F-5F13-49EB-AD87-BC2F185DC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5A36CF6-62FC-4820-AE46-A269E95FD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542F547-5571-4E66-8BF0-78B5321FF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6D13503-1BA7-4D24-85C3-D2C9491CA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FDD1EF0-455F-44AB-BA1B-FCFFCBFAE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15792A8-2631-4A94-B0BA-259A5BC36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F6726D5-CBE4-4D30-BA1C-D8A8B6F41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20932A8-A6B2-461C-BED3-3B7057F20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A2A3CFB-14FF-407C-9E0D-760551827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CA0A080-E9F9-4057-A137-C639E3D18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F864EA8-AC3A-4143-9BDF-195B4DE3D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2CF90DD-1B18-4D3B-8207-BF8E9B7F3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004545F-C3CE-4AFF-842B-B29F2F9C1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691AB1A-0310-4848-909C-4389B9956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9E8AB0E-B13A-43DE-BAC2-CDC59C5F0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4F3F829-0D75-4685-A9A6-8C8A11A43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E31D8F6-262D-4BF4-A68A-2CCDE00ED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D5BE4A9-10E8-47D5-AF28-6D00D564D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A7C5D47-7EE1-4F95-B42E-300DCB5CB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B8A72C0-A82F-4F7C-895D-F07FAA11A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519AE4-A09D-4F9D-ADC5-1447150A4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76A95AD-BF8F-4794-8C9D-0911D4784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E108FCB-F510-435E-BEB8-BE68F0CCC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EEB6C18-902F-4F74-B8DA-4B4D3D6D6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F505535-C9D1-40C0-A9E8-518A6CBA7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C5CC35C-1673-4CA9-B87B-DEAAA8BFE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3CD71C7-91B7-45EE-AFB2-0CD789582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0560E97-9BAE-45AA-8000-D5CD78A0C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F845258-00BC-4805-B5B6-AA605175C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9E1FBA-46B0-4368-9FE0-1BFF815D5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06100E6-5019-4A57-88B7-8DA79AB7D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8B66A31-CA29-4D01-9CC3-11B486481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3CE20B0-4F34-4327-9AC4-69BB34811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5C8B5DF-C69B-4474-BD26-C6F59CB9E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8E95467-2B75-48CD-ABDC-9314D856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E7FAAA5-BF2F-4BE6-8EE3-5B020CE3E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E846971-DF4F-403B-AD2F-757DAAAD3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0FDC43F-25B4-4D78-8953-7AA36396F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53740FE-F8CE-4C88-A8AE-54AF237F7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8BBA13D-10DF-495E-8199-C6E2BEBE3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5783B31-8B8A-400F-A42E-833A35D66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E4B1B74-11CC-4CBD-AB12-BFAF3E600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C57DF2C-DE37-48F1-BAC4-49DCF4E71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46B4CF5-98CF-477C-96CC-21C257F9C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96A3DAC-C758-46CE-A2A5-575673B6C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F9F80A5-06F8-4BE3-8A1A-2CA525F6C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51E3197-51F6-40A3-8E0A-CC07B1C13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9F81F7A-557C-4901-8C4E-434323C9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6F8494E-DACB-4DD4-9C01-9059CB46F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C71F485-6F86-4E99-8ADE-B0371B7BA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B5CC1D7-502E-4894-8186-4854B48B6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8A42A71-A3D8-46FD-863D-48E65DF83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B6B8DED-49D7-432F-A63E-366A6A92E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3DA2A47-0F1C-4DF0-811E-DACD9E53A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9550D39-DBA0-4BC8-AA45-63C3C9959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6599298-2509-4659-86A1-DE5923294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A7729B2-1A67-4115-B111-B89C91B38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38CE636-3745-4C0C-BB63-E8D6E74CA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E6D9A65-1BFC-4195-AF43-81D5B3E9F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0894402-4150-4A65-9C7A-85E431C9E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710525C-1119-4283-B460-D0CAF8C3A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D682B71-3779-47B1-A4D7-BF4B79E21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61C9274-8F06-4007-BAAC-6430416B4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F4B3E70-00B0-4345-85FA-143145208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8BEB3BF-E1E2-46FF-BE15-F28DA7D14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2DE5807-FE48-4225-9342-B437156B9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EEDF7CB-4317-459C-BD47-A84476268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A90F296-1455-46CA-9B4E-653AD66B1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2017A60-33C0-466D-934E-99EB91277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1AAFC65-5614-4B98-9425-F321EA97D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69ACC9C-7EF0-48DE-A801-16D0A6332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B8358ED-DAC6-4864-8682-2F1FEE575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737CCDA-23DA-47A7-9CF2-7101E360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F4C0207-1C8B-45E1-BABB-3F19FBFE0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27F66D4-99DC-48FA-8312-700D25E9D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4B0BC73-8529-41E2-86E4-1C735B859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28207BF-CBB9-457D-8DC3-87D8174E8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D8DA5C4-63C8-4EA4-A178-45BF9378E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520264F-A375-42EF-B050-097E597C8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E86FC15-0BA2-46CE-A997-920C8E734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C0AA927-48CB-468F-9407-647693A8C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0003C2A-2E65-4FC3-A7F8-C0497726D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D6FAA7F-5164-4DB9-8F65-C93AEB6C5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A70488B-562D-45DE-83FC-F0549A2A0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DAA6417-9D0B-4B90-8624-F08019FDE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49F67F-25B9-410B-A005-9648B8E5C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47BB802-5FC7-4E5E-9977-39740966F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0BFA937-0975-4A04-A9A8-BF0461A33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94061EC-2217-4B75-A9E4-352AECB39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225DA57-1992-4387-8C40-25D887F06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A3B1B9B-BC0E-4C63-94E5-39BABD5B4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F6E186-1E3A-46B3-A28C-544A7829B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310CBB0-C4F4-49B3-8C29-F19808E35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50F8B07-009F-4DA4-9DBF-A934BBB1B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A20C291-5BD9-48B4-8D59-A77C37A76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757350C-2C27-4E79-8D0F-BFAE6D892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E850C95-1D1B-468E-AE45-0E2800725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DE32D26-6BE6-4A35-B87B-8885610BD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EECFAB1-CD20-427D-8B9F-B45FD588F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EB61435-01F9-4863-BDA4-6DAE3158B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BF2A33B-FE5B-4711-BBAB-B08E02260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EA5EDE9-F9AC-4EFD-AC4C-F9ECA814E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706E6D2-C15E-4EA4-849A-46B2D8AD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27E4C38-814A-4A90-A319-02BD0F07B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20CB2CB-053F-4617-ACAF-AB896F8F9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902DB9C-FFD8-4ECB-BF1F-B3EF39E41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A1DDC37-53D3-47AA-9B48-4F78109B7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D6D1FFE-0CC8-4777-9943-51A1B5E15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540724D-40AE-43B2-825A-E9993803E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5F87B57-2976-43E2-BAC3-6E7AD9649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87FF1F9-C158-4DAF-A5E9-EB8AE0AD4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02AE5C1-E2FB-4FA6-A4F9-F91C393C4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00F2A9E-54CA-488C-A80D-63F5A1F68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C3513F8-31C5-4AFF-A749-E0B40EC11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368CFE9-553C-4C4C-A241-286193C03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F9FEEF6-731C-4D9F-8328-C2EBBA1FB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4809176-053F-4B62-AE2B-30C0474CD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E63AF54-D306-40A8-B075-45334B952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B62D4CE-82E3-402E-8A62-C9AF02D1A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66A44D2-0088-4DD2-9EF9-3DEC15B6F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8C823A4-7DFC-45A1-B825-E1A371693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895253B-3FF6-4723-AF18-4F20AD2F9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92FF785-20C4-4047-A332-88468DC8B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DB0D2C8-EE52-4B60-BA41-1167C0A64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65CE3FC-C9F7-4D75-BBD2-20CB5499D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5BFBB8F-FCF1-4F57-97FE-339E6D966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F59BBBC-C9AF-4471-8E86-D25D2A46E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22C0B41-8CFF-42BF-8E84-DD3EA7E7B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E744146-86F7-430B-87A1-E1655FFA9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9E12AB0-9205-49B5-BBFE-4F86DFC6B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7D4EEC5-E7CC-406D-BD84-1641AFAEB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332DBE6-E055-43EF-AADE-1417FF42E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FA1E305-AF0E-4A6B-935C-1C1935B3B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398B303-381D-40CA-ACF0-A18F86854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93A6A74-CD8C-4296-B23C-2667A97A2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BAD41D5-3581-40B9-804D-C5BE18444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2E41AB0-B1B6-42AA-8B4E-68D424AE3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386BEF7-F51A-48EE-825B-AA0277FC9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0B717ED-5A0A-41B4-861D-E30DCB04E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D17DC4C-FAB0-40DE-AEB8-A15BD7762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8629DB5-F6B3-416E-B916-36EB471A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689B0A0-1B5E-453B-AE0E-E08CE93DE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6C24DFB-09D5-4344-9E7E-F06683829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53ADD62-5CF1-464C-AF13-D7B2E049B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2A6490E-1C8B-4E24-942E-BC8C89192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23FCB86-B9B1-4EF6-8EE4-09FEA78CE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92DCF5A-DFB7-4CDA-89CB-041932B0A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F72A253-0CC8-4CE4-8A17-21FD00CE9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0F2137D-7D1A-4BD6-9C24-0272F942F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B197927-F7F5-4166-8DF8-5CB7A2C8F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0B2A4AA-65DF-41D1-B72A-2FE6D9356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4F38A1A-0F7B-4CA0-870E-F34535A98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04891B5-0BD0-47C0-86B3-D573F4A0A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A0DD3D5-2604-4BDB-B53E-9D7D4633E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D8217B6-9795-46C8-BED7-446FA637E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1309048-A980-4FB8-A10B-3085E82EB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EC857D0-D179-4FAA-ADCD-2A5EC5DB6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C335653-F3D1-487D-B3B0-5C5C02495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6338F15-BFE2-4B04-A318-D4134B20C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7948C62-28E3-42A8-B2FB-08D5D2D5C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9CD9260-9F04-4797-9D51-5A1225CBF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1D2CE01-B96F-4D50-B78F-F2D0AF345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E3C9075-65DF-4998-A642-A2AD087E6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FE530DB-79DA-4B32-902E-7F6496B06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EF52104-4725-4C4E-A387-9B8904C50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A5D0C9B-600B-4DDE-BCFC-4FDF9C3DD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2F11105-D517-4360-A588-2A1784E72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264E083-05B7-4376-8C33-094EDCD0F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2C2FDB3-C7AE-427E-9B59-1459BD139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86F1C28-0A7F-420D-9711-C5E74C4F8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1C39932-984B-4473-8CBE-BF1E0D2D1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E17B367-DA61-47D7-9EBB-53778A88E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1A03DFF-47DC-4758-91F9-3425B1831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3B243DD-E91C-4E5D-B24F-7390717A4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A741495-6383-479A-9B8B-AA3A79D8B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815D1A-3983-4D43-A7EA-FECAE5959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ED45476-399C-46B0-9A06-4FB0A4950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0E7A9D8-CD18-45C9-826A-DC37B0C45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FAB4833-F1CD-4476-92EF-ECC0CA322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E4F4B23-3128-4EE1-8E19-DFE6E25F0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39B42E1-D84E-4B32-B939-476B1EB06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BD7F024-F263-4DF8-ABB4-4A63E3441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F0EF4D3-4E02-4227-AC27-072CBED15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7EE0554-0DC1-4CE3-89C2-18B4A60DA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DCB6329-7112-4CF2-8F73-7BEC0923F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CE28F9C-995E-4062-85A8-8E774E7E0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9092B32-47A7-409C-89AD-5C8785836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C39815D-3716-4F07-84A5-C88CCD9FD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6C6F54C-8B43-48FC-BB2C-14896C86A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AD530BA-0518-4B32-B007-D54C67F25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1C4064E-6BBD-43CC-8C94-0192D2485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537CFB5-65B3-40D9-9AA8-725F0AD91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5488F64-2203-439B-BD13-664F61D0D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930ADC0-CC52-4569-97C7-147021E2D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11C284F-4A6C-4FFE-AEBF-53877BC35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F7DEE5C-E536-4E62-BAA5-42497D5AC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2FC539B-D4DE-4160-B8E5-C988CF49E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015D757-08E3-48AA-B4DF-AA35CDA89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4360EF9-CE44-460B-8DC3-D53A42C95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28BBFE2-AA04-4B6A-9BA5-3EF5255B8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56D0974-E23E-479A-8E91-1EE7E3BFA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7649360-3B60-46B3-BFB3-6D904F536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04C92D9-6D5D-431B-BC55-3BEEDCD11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269DB7D-8D19-4228-8A22-A90EDF67B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1DFF7AD-8577-43BE-A1FB-43698EF1A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5162D0C-23A7-42B5-A2FE-29504644D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69E2DEB-2907-4A9F-A561-C766E66A5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9704E5C-C47F-40F0-ACFC-4AC948281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319E4B5-E803-4A56-9649-E47AD9A17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11E74E7-0525-42F3-B51A-DD0352C93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2FD3752-A486-4514-8498-203F83205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465CBDF-BB21-4C5B-BD16-85673DF3B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536B4A9-45D1-4438-AEBB-6E7B7401F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2551E47-7D18-4003-8E63-407A5388F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CB775D9-290D-4BA9-9102-BC2BB2030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570536D-8710-4ECB-9AF7-6B9E624ED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9D1C5CD-053D-4193-9798-4C98DFAEB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57B0852-5279-4D26-B923-93D5424C4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26DA140-6C1D-40B8-84D1-8C985754E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295F82D-88B9-4A0D-A248-99DA4E516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EF9B63A-B5B3-493B-B4D7-6600F9752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06A30A1-C357-4C34-8E9E-0B1DFBECA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C1C618E-7E38-4EA3-BA74-140618D4F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C958BDB-0474-4BF4-AEED-2ED20B3A4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2D01A86-F1BC-4865-BC28-F758E6850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C74EFEC-FF42-49DB-9CC2-722FFDF07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C955EBF-F4E0-4121-998A-5347DAEFB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E10D862-1072-4BDD-ACC7-E21FA3B04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8D41B6D-2A3C-4CC0-B864-C8250255B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2412A8B-AAC2-4084-8A19-E67A34A29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DF22762-FC7B-4E75-867E-805FADF5F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4882B52-485C-4A77-BF46-ADDB34C69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9D407BE-EB24-46AC-A35C-42C0E1679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42101EE-B560-4E91-ACDA-79D58D602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BBC401D-8757-42C8-A7C9-D235E7B44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E7D965A-D037-4563-AB40-2888F2D91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959B770-F7C5-44E8-93B2-9FE14A21C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DD06D8B-BAB1-43DF-B031-DEF5986D3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68B5D34-BB56-4CE0-AC66-2B230F8DA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CB1DD57-0EA2-43AE-BF48-14130E6FD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7FFB41A-C11F-445D-8148-18B4F4DC9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47B8023-EF1D-4E44-AF1D-6E0D64869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B1E2211-D322-48D6-9EB3-564D5F3DE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822A93C-53A9-48C7-9E66-6DAD2F0AF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5BFA82E-DC8E-4625-9B71-0DE6CA686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92F1B5F-CC6C-43BD-9A62-C5DB6D0EB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289562D-2B78-4BA8-85CE-57E2C6A97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1E2A0BF-02E9-4FAD-A142-E9FC8BE8A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E40D81A-1CAA-44C0-8937-8D903C171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B36258C-741F-460B-BD40-6A6DB7837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5E9E248-D95C-4E44-B04C-1037256F9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240A556-75E4-4817-98B9-07384108F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3AF7F22-02B4-4ADA-A95E-2180F1B66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14FD02B-EB64-4EAF-B60E-C0E8E886E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451C22A-22CF-4086-B56B-FDAB9832B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58FEF20-65BD-442B-841C-5428D46E9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2701172-4EA2-44E6-A7CB-8735B11CB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FF0DB35-8C63-4091-B9EC-5B2D853A9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5DB7F1D-7744-4745-A782-2574DD669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2EE571A-B284-45B2-9251-788F23474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BABA8B9-BC04-47FE-9FB2-72517C508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806E611-1F55-4350-B539-44C32B128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9799902-AC36-4EA2-AFBF-9968213A7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F13D688-9BC5-4037-9FBE-04312CD90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49B5F1E-26B4-4CA1-BCDA-ED1F5E99F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00088CB-7FB9-4C58-BD20-20E192A68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B1C875C-E58E-4D8E-861C-F27C28422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649AD6E-D99D-4957-BA5B-3D833D137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8A68DC8-DD25-4DE0-9D9A-D05D75B08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7D814DD-7848-45C9-B923-DC0DD0F76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BCA6B19-C038-40A0-8965-ADAA66804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66783DE-6C44-42E8-8D7A-81619CA5D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E7897D0-1E1F-427D-85C5-8A9DF6896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1719657-3DE9-4FBA-B17D-B4320A585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864F499-D390-4231-BA99-71D0D31E3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B7FEC1F-AC4B-41F0-AD47-0005709EF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3F24F0B-CA80-433F-A795-2DB6B4F81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D861F7A-5D67-4C3D-91EE-0BF0F8F88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FD8C115-42E0-493D-8F74-767FF5F99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DA76B49-DFAF-4A08-95C9-F7123BCD2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CC57908-BF3B-4742-9BCE-9277C34E9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9B00146-7BF6-4D94-99E4-F07B96E05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86828EA-614E-4DB8-BB45-CF9D0ED30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8A8CC54-BEA5-4B03-9DB6-4F973964B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B12B056-4DE3-4AC0-A768-F482F681F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18265D3-BB8B-4DC1-9831-033330F91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F574508-9E85-4CC5-9AC7-4E36BAD03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E990B34-6DAC-4108-B0F7-1A8DAA7AC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E87DB99-BB3D-499B-A57A-E61ECFDFB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D8ED13D-7A65-4BEF-AD38-58EDC0EFD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C44DB36-EAE2-4F50-B7DD-74DFC2895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882F416-3D3A-48C6-A99D-DFD30E023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4465D8A-7B0A-4159-9A31-474B8EEB0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4DD0840-6291-430B-B097-FD7102A7A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865C5DB-5878-4547-A14A-663892AEB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18E1781-2590-4C79-AA22-4EE0E1731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D625F71-57BB-451A-877A-42526DA45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D7DC4EE-1941-4154-BCCF-9A50A13AD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F0EBF43-49DA-4381-8239-B40F37628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44ABC39-E327-4268-B96A-957C17BD0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46E57DD-3DA7-4D75-B478-D47C386C2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CF59CE1-DEF5-45A4-90A8-001B3FBC8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653F0BF-378A-4627-946B-2E5080E93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D36650C-EBE5-49F0-BC06-62D690C84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0AA45CF-3EA6-42B3-B256-A5ACEACBF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3F4A898-09E4-400B-9FC5-7DA7760A4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B73A224-7714-4053-A8B0-97D5C85A6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4D8DB14-B30D-4633-BD27-50326BAB3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F4F132F-E4EC-479A-9263-0638656E9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9D6EA45-E15F-43D1-8A80-C2439F75A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820E71F-6AAD-476F-A4F4-6F74375E5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ABB9ACA-EA3C-470B-A20E-91F6C4D14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732FDF8-E468-44B8-A855-49C9E0BA9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6323EC8-E77D-4575-9D6C-209A13FAF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C8FEA00-6D8A-4994-B150-751350CB3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85C3D20-F076-46FF-BCE6-7A1ED8925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0A6A749-559B-49AF-AF72-147988F12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DE50672-F339-4260-AE46-C8290B0D7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0540C8B-5DBC-4D4B-8D05-F1B91BA69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DE34A9E-5EBA-4F55-BCA7-CBB0ED0C8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0CA2FFB-D0D3-457B-89A0-88543B22C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6E7C90C-F1C0-4AD6-82ED-3696ABE1A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048EB43-882F-46F6-8E4A-F69D4A1FE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36C0F0A-BC66-4F69-B508-995EF62D0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7D8F552-AD76-49E4-BB7B-B587A2BD4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C86FC16-9AAF-4BF4-B4FD-B7CB85C4E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F587040-5AEC-4329-95A7-35807DBAA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7604E1A-BD20-4CF5-8C1A-AAB4246F8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B92ACD7-0A33-4193-B064-28E025DE1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F0E7464-023B-4428-AD8E-AD6DB8232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76FC6BB-1272-478E-AC8B-ED6DA8A6D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41D4FA3-0415-466F-BE0B-F430D6AE8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E30AB88-8F3B-40B1-9C72-C7548D3D7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D7F3470-7627-4CE8-B2AD-18DBAFCDD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F654173-A2ED-4978-BF53-6964B9E51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62B9C31-8E86-45E4-9348-94306B821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ED42431-81A6-476A-A32D-F1DEA3E4C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81809C9-523E-4EE0-9384-E5DC2BB60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5617C86-F5DC-4719-B75C-4DF34E104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DE7E204-BAD2-4929-BDD1-00F02895C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488CF26-EE5F-4F71-BA95-6F5ED0A9E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AF14542-D0A8-4933-A30F-DAF471B2C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21BB8D6-0BC3-4F75-BFC4-31182F1A0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B296823-9B64-43D9-B2DD-C2E2ABC15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520DC3E-1FC2-4722-9584-60C02BD92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01A98EE-BD2C-4E08-A5A1-1398AFA94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7231E26-E1C5-4AE9-B2E7-3886F8338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1A1AF7C-9CBD-4C60-A868-B7BABC69F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4F04451-2EA9-4C8B-81A9-F63202098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3DDCB1E-44B4-480E-BF0A-4922E63A2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C91CEED-88D6-46B4-B46A-C655B22FB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3958F19-6AE6-439D-8A9D-2916EA692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AA8AB41-6001-4BBC-A52C-DB2A3D631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D4688A8-6F6A-4CEE-B950-B2B06ECEE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D0B0EC1-2FFF-42B7-9670-89CF4A862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D6BA747-5888-44EE-8A3E-2674A086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70DFD0D-6073-4C9D-9E38-1D1B66973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8510726-7753-473F-A74C-57E957EDF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8922CD1-0B78-4C72-88E0-1D6530D2C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0051158-72DC-4254-BF69-2A91F9FA8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6D8E80D-E718-4609-B3F5-E1C22021B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0EA2B14-C881-47DF-8B5A-16B22224E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AA3816C-B034-432E-8B95-746171CE4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79E49F3-07C5-4D6C-A1A3-B6ADFA417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8FEBC9D-B7D8-4710-8886-2D9C6E67E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08C5847-BDC1-4B82-B8CD-25861ACEC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64AFA80-A72E-44D1-9311-8DA33285C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ED70ED5-478C-4656-8353-50F43E8E7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8FADA23-E082-45D6-A515-B2E42A3A5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945BD76-B6EE-4E8F-9730-BCD770642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6FA308C-BFEC-448F-9CD8-7B6EA091F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6FA6A14-761A-4B13-AB56-9B3DD6055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820F8D3-6219-4410-8825-458B13CAA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CF5FCA0-D057-41A6-9E0D-1D716B857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3742E48-9C39-4709-845F-9A7742076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CC9B7C2-EEA6-4003-89C6-12C262683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0BC70EE-D2D5-49D3-ABA9-396D54281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2B3A3DD-A930-46AB-8B35-C6612A50E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C78E6F7-D144-4F15-971C-65A1FDBC9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AD79C6B-FD3E-48F3-8D81-6B497E616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30D9ABB-B7A9-41D6-8EA9-3F4161E15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AE586A0-54BA-436D-A3E0-4C4D723FD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59CD51F-1A6F-42F6-A4A7-80EB27A84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9C497DB-2F92-4F63-A1F2-55B770FC9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177EE3D-009A-44D6-87D1-81E1034FE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4CB0DA8-8AE6-46DE-BFF9-A32E5612F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882A032-9E5B-42B3-B622-48F0E24DF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0511B0F-B42E-4F85-8324-400949DA2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921008B-E8FC-4124-A83D-C585D745D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008B3EE-A431-4958-AE82-413383DC0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663B368-C9F8-466B-8568-E690DD120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C45DA06-B144-4889-B766-9305D7B25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D92FBC5-4320-4B74-8B29-A73B12672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C04FFC4-7048-40DE-94CB-CFD8C54FC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9C91B70-955C-41F0-AB1F-F3F12EB44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4F3A348-33EA-4C6D-8921-EDAE3111E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EE1FC43-725D-4427-952F-14CC204D8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79257F9-4C1A-47FA-9047-9DF4B5AF4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655B1B7-B37A-4BA0-A4BA-FA0B17BA3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CDE4F0D-10EE-4E34-8859-66C0B8E55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826119E-A61B-4193-A7A4-586411292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71CA40B-BD22-49CA-BD7D-D632B5273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148DB59-65BD-4E35-8BCE-6B151C99A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E5AC9AB-6CC7-4862-B5B6-3B3EECECD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CA5BF90-AA34-4643-AABD-6AB617B59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075C1DC-1C94-4E42-8419-B560EDFD8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344242B-924F-46AD-A70A-1B25BE7B0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10ECD44-4E3E-4132-84C1-34EF8CA83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F85796A-E11D-4FAC-90CA-78C24301F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C5B9801-4EE0-4F0F-8DF3-65ACABC3A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868604F-D19A-4193-AC4F-B2D391597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AC22BE8-C53F-48B0-B1AB-C434AD0A5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FBBA747-7262-4880-A7AB-87C8C9DA4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56E4219-7024-4230-AEBA-C10BAECEA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3FAF1A5-6314-494D-9AC4-D6F15F59C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1FEFA21-3228-4B80-B051-192E3D3E5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8FE91E4-31C4-420D-9A4A-E0B12D395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3D04707-947A-47A5-8AC9-6F96C9752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2894AF3-599B-45C1-9304-859FBDBDC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E247842-4FD2-4222-A2FB-A37A94159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58CCED6-A0A9-4FBA-AAD5-9F4CB30D2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604D924-51E6-48C2-B512-9F34E3452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9988B5A-7DA6-4F42-89E9-89EB7A158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3964419-5E9D-4D8E-888B-E87605FCF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4F6341-D2B7-4EFC-95C2-0B6B552E9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D3260FD-4DF1-4D82-A60E-EB670DA2C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FCF8571-AD85-4F86-B89A-D27119A2A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F20AC22-1A94-4C67-B496-C79019E91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79DD354-FA19-4E35-AF1A-FD100F94C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DE7B111-F0AB-4959-B12B-C187CFBEA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2D178C0-3412-494A-8B84-AAC51F85E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67AD733-9DB4-4A16-8098-ADF60BD9F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B1DC439-5C0E-47F1-AC79-01EECF52D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BAD906A-5054-47EC-ABBE-4AE3FA6B7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109B684-D3DB-487C-B3D1-E64752254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2A12982-F930-4FAE-A0C8-97DE2D4AE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2572501-4D3B-4BE9-AAE9-082490763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DB8BCC9-E777-414D-8CB2-B4E5334F2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F6401BC-7188-4FFE-BA80-79721C518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1E64751-0EC7-4056-A657-15F34F32B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EFDAEB5-8770-4F45-916B-DECFA8BB5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5CB9060-9838-44DE-8EB8-A325E99AB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E28D2B5-A666-4495-98F2-E789E7F3B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34CB173-B195-4C58-A94D-58F23AFAE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D4D6C62-7318-45F0-A13C-1B77F3AB8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581D77A-5BB1-48D6-A1D2-1B8EC478B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89B0088-1E41-41E9-81A4-D6A693C15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C6EF379-A8BE-4ECC-A3A8-C8CC59ACF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EE3F080-1AC3-4FBE-8DAD-AD0447B3A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00714DF-555A-4B55-AC08-D8F651FDE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FFE93DC-2FDB-4CCF-86A6-38C2362C6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AD70057-C09D-4AB1-A6B2-149A23D63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728A4B0-81EF-44A8-9D2B-46F42865E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586047F-E2DF-45B0-B610-54EFE3F8A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1FA347F-9CAA-4806-868F-99D2E01AD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33D65BA-7350-460E-A017-04485B50A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AE6E8D2-35A9-44EE-9F35-AB354DD63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BA79938-04BD-4CF7-B386-087590F73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9DE267D-7DF6-49EC-88A1-3D09D53DF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311678E-E35D-49CB-9277-D2A36AB3D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4B45BA1-1F88-489A-899A-63F83693D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5B90B86-5EFD-4C27-97E9-DF6173C2B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DAEFC33-6926-4F89-A554-ABADF9410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03E3C43-D318-45F4-8595-A0BA8D6D1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3100B8E-924F-4B53-B041-C83FFF4DB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A52BB8F-23A8-49A9-8C10-18A841621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AA04C64-B4DA-45BD-AE80-C71675DC0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2D19D81-E0DA-44F1-94EF-80ADC0BF8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B62055E-C48F-4201-AFD5-4C2CE1220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5EFFFF0-355D-4C77-A483-E05F32012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6E37971-5F67-46C1-B231-903D9C997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E3AD4F6-2D30-44A7-AAD3-E2F5A4586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FE3742-AB5A-4CBE-A6A4-26EF7DD65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2D4E91C-AE1F-4461-AAE6-93064B2F2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85AD47A-3EE2-4607-9BA3-155C28DCD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2B71A4B-A6CA-4515-8DDC-4A1836B74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C7E335A-3145-434A-8CE5-006B00A9C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2D92FE0-6322-4472-8515-E409DBC2D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977FAC7-276A-465B-98D5-4C2B1327B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7C3CB29-B102-4285-91E2-61FF87295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A1EF413-4D2B-428E-A2EE-37D4C084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7D21D6C-3D68-4CBE-BACA-FCEC97401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1CC68DD-6FA9-44E7-B54B-C6086AF11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3E60C9F-DE3D-4EA5-8267-F3626CA24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B672B85-A099-4313-BE9C-E50EC7652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FC880B9-4391-4FA7-B879-051F4987A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98B56D1-F6AC-4638-A37E-DEFA61C08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5B23008-EA2A-4114-BB63-8CD4F2EDE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9B7E6E6-0694-45FC-BD50-36540547B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63B4F16-8031-4D4A-B63C-BE31FBA58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3ED3184-3D00-4259-98F7-BDF20F1E7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C289A14-B1BD-43E4-9765-D16644C67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93517BF-BD9F-42D1-85E1-E55083EAF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D309420-207D-4C46-BF26-8F5783E4B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1D85376-394C-46B6-A29A-B8C338C95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D64F9A9-706E-4068-BCF5-72D16437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BA87BA3-3A72-4D79-A0B3-1C7304401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CA6E646-0C2D-4D5D-9192-A60403FC6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FC353B8-A5D9-44C8-B598-C606D9F56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86917E6-A92A-40A2-AABE-EF4DFE7AE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8E8A4C2-93A4-441C-937D-D76415108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B251838-3635-49EA-B721-2144503B5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77DDBB9-1C24-4CBD-9A1B-288E3B6C5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1AC9ADD-25AA-4071-B877-755915140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2ADF1BC-F34F-4A50-9138-32B3C4BC8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1B3C427-C4DC-451F-856C-44923E60A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5FCF53D-821B-474C-9064-11D515630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0630B6E-2C75-4D0F-BB98-2D5D5D05B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88F7FA8-CB65-4670-A29D-340E55522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927467E-AD6B-4B8B-B4CF-BE67107D9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DF29389-E823-44C6-A599-1C97BD394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1604DF8-3C73-41E4-80B2-E55CAD9A7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9B0E8C3-2DC4-4658-849A-F48C34048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0D00BA9-7F4B-4FB1-88AF-02062531D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3257BB2-B9B6-49C4-8A1B-707A4E858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80EF5F1-8F72-4812-A6BA-76924C532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DE831AA-843C-4119-8B34-41D44B5E2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F8D3F26-56FF-40B7-AA10-B1CE70AF1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8758CB5-870A-4D41-91BD-D0B7C5399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C214749-3700-4002-805E-C0C841E3B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E1BD3DC-4507-400F-878D-837805B26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E7D3C51-0F1D-412E-A052-A59E0EA04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82D00D9-F772-403D-8024-D2F217CA6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72CA699-178B-4D44-A171-608860753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EE23748-713C-4074-88D8-240F25CE1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D5FFDC9-A77A-43C6-8679-6D6450110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F3B9016-75DA-444E-9EF7-00202191D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25EDDCF-9242-408B-9366-7D2B33B37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75E510E-1C60-4295-B95A-DAFA9D235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0138D09-2C8A-4B32-8F92-4F79A5718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D5C44AE-9988-447C-AAAB-3964E2FD5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BADC1DB-ECCE-4A71-A4CF-0E23B0877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1AEA90A-106D-4973-8C9F-7B5E25898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FA5263E-3F68-43A3-A062-FB4D697D0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CC2BB32-C712-4470-BFFC-BB564C4FC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F20AC7B-1AF8-4304-B6B6-E2A40FEC9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71B1C2E-8B3B-45BE-A647-E3A3E204A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8CBC49E-EC24-42FF-900A-1C93790C9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D165D49-6E6C-4392-B975-8CFE4932C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32E2915-3BAC-474C-B4A7-78D730297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70FB5BF-D90E-488C-BBE9-FCB68C73A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F1499CE-A9F8-407D-B0A9-8CE11A45C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84117A8-EC4D-425D-A32F-8C398ED00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529F619-D359-44D3-BDF5-F82BC8D79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3572DD8-7820-499C-AF50-8D0AC8744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D60F76C-EF60-4EB0-85B0-FD07C5415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B77DA81-2C45-4139-BD79-32E469117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86CA9DF-BC26-4A2E-886E-D031DE0A0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BABB7CE-7328-4253-B839-0B3453025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D758D53-531C-45A6-A6F9-EA0BF1EE0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9447F9A-8D30-44C9-B2FE-6E5B3D9A5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8A657AC-9B09-42B7-AA27-BF9947C5B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D375A7C-6312-41A6-B5CA-9D4A358E5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BDD8DDC-F26E-4A8D-BB9E-10FF93D63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D0FEED9-1C17-4984-BC12-424D54F94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29B68DA-21B7-4E64-AEE2-427152E0D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145E775-B0B0-466C-867B-13D5268D7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DF8583A-688D-4914-8E90-1F1A82C7E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E06A7E5-185A-4DCB-83EE-1FFC60F77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B5CBC88-19B8-4C63-BF02-5A9ED4B50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3D4B34B-3EE6-437C-8280-D3A254FC2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95706C-5CF2-4E2E-858E-A772352CC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6713B56-920D-42E1-98ED-FBD5485B9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CFD6A6E-AF72-429D-92C4-D72943A53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1B72F9B-1D21-4AD3-94E1-56E079196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1850D69-37A4-4BA1-A67F-773BF5C2A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183C9B0-DF2D-49E6-9C6E-EEEB6627F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B23A6EE-F9BF-4EDA-B35B-05F569970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D753063-58FD-498F-82CA-01F20D862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4F0D45D-BDE6-4423-84A3-5123E39AF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92ABE1A-74EE-4D11-BC4F-F884AEC40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F33F6DE-6D25-432E-82D1-E87AA9B9A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ADACBAF-4B51-4D78-B6BB-079F9401C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B09076E-0E53-4520-AD2C-2C35869A1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BD09C51-2BC4-4019-BAE3-7A6F85CEE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729958F-9663-495D-8574-9FEC0324F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FE99661-F358-4EF5-9383-519D2F9D6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04ACF6D-12F0-4290-89AC-DAA827700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5767785-A6E0-4F3D-90AD-53B3653FC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8599CCF-D891-423E-9E6D-050D8093A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D30B413-8089-49E9-AE06-365CDBD9B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CEE30C6-BA1E-4E58-B074-7162E91EA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04945AD-598E-4899-BF6B-8966CCF91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BC19C63-ACC8-472D-A866-5BC5E2386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315A330-1936-4E78-88A3-666459170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136AB1B-17D0-465D-B262-0F5669439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BB7FDD-06BE-4E13-BAA7-73B96DAC8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83A2116-4719-402F-B835-9473A84F7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CF9AF96-E4E3-42F8-AAC5-FCC65488F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0EF867-4ACC-463B-ACE8-E82247DC3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3C7E94E-64F5-473B-BA3E-03E357077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584688-FE9C-4DF6-A203-592CB0BDC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263E5F1-6EEE-47EA-8B9C-E6B70A1E5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EEF34D3-ECC6-46B4-9DAF-BF756B08E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D0B4B00-6D07-45E5-A4FB-D2F244917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84607A6-8069-4997-A431-D909ADEDE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4C40994-CD1F-46F8-BD25-9CE7EB29F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DE6EB9E-B248-4F92-8711-DE8A0D03D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523C956-683C-4113-BCEC-EB277675F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07AA96E-839C-4365-A1BD-45C008B18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6E9E214-1A83-4773-8AB9-15FE47038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0731A49-ECCF-4834-804B-61944D5E7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FC437D7-9E75-401F-9E3D-01F749F1F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C9A6D61-0214-4BF8-A53D-660AAD158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A54E0E2-B4D9-4ED4-87E0-E3C70D2D9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82782E4-1883-474B-908C-C120FFBB5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E9E684E-440F-46E2-8159-3B4019C92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20C3772-B8B5-46E5-9DD3-99448986E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3A0F4CC-0F8D-4A3E-A9B0-868EE5170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956D665-30B8-4786-AC56-C01561104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BD5ECB4-C225-4C02-8AB8-453104D4A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F0A6CF5-DEC1-4ECC-A54B-B7E9488A4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4E75595-CCBD-4717-9E5B-006D16A19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78B60AE-2C43-4BF4-8DF1-AA2137093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C012714-11A6-42CC-AA00-FBF47BD6B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607D7CC-E267-43A5-A5C5-D10ECCF93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BE75DF6-EE0B-4286-823F-33D72E809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25FB34B-A151-4A7C-9F58-6416E378F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D52655C-8CFD-47C9-8B41-FBA4998BB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670C815-B269-4968-8FBE-DA9A97629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D05C1AD-2FF0-4C0C-A10A-C6EEFECC7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B068D9F-9D68-47FB-AC23-1D6066E98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BAC6878-E9E6-4BC6-8463-5C7C26C19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60C05D8-29E2-43A9-ACD0-8BB51BF68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A723B59-C545-4D54-A952-F14901961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02959E8-360B-41D4-8B1A-14D38B545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6792BC0-38A9-440D-8623-69D68A7E8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8E9CC69-20A5-4A4A-8760-1E3A4DCA3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B739439-671D-44FF-9D07-856050949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498E3F2-F7FA-4B4C-8822-F3581D791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0231623-175F-4D30-B877-F45EAA779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7C08E7B-B6EE-41D5-BB89-777008203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248A063-1599-43CC-B994-0151D67BE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EC1E30C-6310-4645-9F14-11D412711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9E29DD4-CC05-46EA-91E7-6535A03A8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F782C3C-82B4-4A58-81E0-22486172D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0C10AC3-9E52-4B8B-A00B-DBB6B2A18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A6CDFD8-500C-4FC8-BF01-0B68A5171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936157B-456F-4A3C-8835-151084BD3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D2D7679-54AD-4639-A085-B5A05D325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2481DE6-BC7A-4F99-906C-8EB7351D6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FEF44B2-0AEC-499B-9EBD-392B6E9FD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2F6DA6E-1E78-4574-8428-5A0162E3B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AE55137-D938-4DE9-B16F-5D893EABD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16E3341-0158-451D-A7A7-1727B8EFB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7B112E6-AA06-45AF-857D-C8ECF969A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3217000-0A86-4145-8E56-E747F691F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2E3A613-5081-486C-92C9-4DC71368D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21E0230-D81C-4AE3-9C7B-9EAAB8FB3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A4AF592-30FA-4895-B83A-0FC0B6B60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A5B40B3-9B25-45C6-8B7E-24CE8910F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4A90B1-C041-482F-A1CA-C3BF7ED16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39DDBF-B6CB-40DD-8AF7-0F0F8B4A4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5B0A202-662E-4446-B142-925004CB8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5C123A1-C1E8-43D4-B4B5-438884E85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E981ABA-5A3F-4675-9232-CC999DFAD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C19C9A0-DE5D-4B9A-A2C6-875B05DA1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656E5D8-A42A-43A5-B38D-E2834177D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8AA3416-A95C-4CBD-AF89-7D4087283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5BA9058-2FD4-4287-82EC-2375CA946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BE9904-3456-4F24-84FB-59BE8EDB7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34E3423-8CEA-4111-A1C2-03EC7CA6D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757A76B-D6C3-4009-B5CE-CB3F51154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E129372-6705-4FC5-9637-373AA0948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8A70364-6D1E-420A-ABB4-4AD3CBB1E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32192D4-EB43-4525-A096-C0D01572B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87FCEFB-B52B-4389-8762-E9172FCE2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397FF0A-AB77-4C6D-8762-151569814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CD9D9A4-AA03-433C-990D-9D4BF059B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81FF53D-130A-4A55-9B9A-BDD0EE0C0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2FDA070-6696-4DF5-8466-C9822E5A9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24BBD1A-FC56-4DCE-BB04-F6FD083C3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B76FAFC-F939-4C36-AF36-5952682DD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99CC936-7DF7-4345-8876-FDE6F4D83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958CE94-58F2-417B-8F32-B2B98C1B3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2C23052-8484-4FFE-A845-3B0BCE880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E78C66B-1A36-4142-A580-02886A57C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13F7974-E4E1-4FE6-B45B-A43C972F6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C338D39-44D2-4430-B4EE-74AD39FCB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98AEAF7-5E6F-413C-AA7D-8234BFF10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5E17529-BBA2-427D-9097-98881C8A8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3B9CE0C-E4AA-421F-B68F-BDE3F58FB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CB26322-2CA3-4C9C-8A6B-ED76AD98E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61CE816-D859-41BC-A54B-C260882DB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5DE0AE6-E37E-4764-B861-F68F9686B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EF80229-28D6-4E5F-9CA1-D2170B7EE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9DA8648-AC51-415E-B9A3-6235D21A6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EEC9C46-8BE7-496C-84B0-877DED759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1975E4F-BEB0-487F-9925-0775A6146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8780C07-C5A2-4636-B6B9-40CEF132D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575F1A9-F658-47C1-B478-0CF71B200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542D6D4-70CE-4BCE-B121-0D5B7921B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3C341D2-9C2B-47B4-B45A-F60946E6E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3B1B200-0C3A-43F8-B25A-C8FEDB5AC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2D846E9-C999-4715-8A32-1E538D674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4679D98-EB73-41D1-A873-D8344A11F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8AEF6E5-EC26-4E58-9EC4-3B129A324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9E7E484-8776-4071-A8FE-8C0F033C7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8BE24F6-B5C3-4450-86FC-1DACB8847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F8C2A3D-9F0A-4905-A83E-25CB2DDAB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C9034FF-A872-404C-A93B-A4391992B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B4E0B63-C37F-408D-978A-CBD808367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471FB32-4393-4FCE-9459-8F2B66020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0EE2242-FAD7-45C7-8986-92C35D668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3546751-45FD-4170-908B-068A9C2C1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BC4BBF9-A7AC-4FC2-9272-436D2F3A5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D3850D1-8E3E-46DB-9D44-395D7D9BB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1EA18F9-3555-412D-8793-398297BB9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36FAEB-3C58-4EE0-9BFA-D66EAFE1F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311C02-B76E-46AB-8CCC-2CFF497C4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F77E3B4-BA06-44DD-8826-3CCBF7BD4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21AF2D5-2DCB-4AD5-806A-27A5DAD34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9D596F7-343F-489D-9E40-B814EAE4D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88B2F10-7759-41FF-9A68-DF587671F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8E7B95E-C690-4FB0-95A6-486CA1E6B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E3B6916-5B07-4923-BA74-CA9F4D4F1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43742DF-2A32-432B-B2C9-279C34C5A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ED043A8-3A68-44B9-A46C-07D056462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796263F-EF4D-47E2-AE37-900B1BA2D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0D314E0-5D34-4C72-BD1F-47FD0E2D3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0F245CA-C975-449D-8BD1-DAD01C1FA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CA2E58F-80F8-4973-84DA-18CFCF6E6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9AC93A3-A48D-4A48-8A58-E1F68FC1E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9A3E32C-208D-4366-AE7B-4CACAD901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3689D16-AA40-40B5-9931-73D7777EE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463CB94-0D50-4EF8-9563-055C39EB7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BF2AA49-C78A-4716-98E2-AC88734D0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41A5D44-C6BD-4294-8725-4CA2B9716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5351F4D-9148-4670-8857-F6A2A93A2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212C98B-04E1-468C-B4C6-3FFD0DDA0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0769240-479E-42D9-8981-B23412619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930978F-ECFF-4FF0-9FD1-AD69796A5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D79A807-0668-4759-92C3-0A8A03F9D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682BF60-754A-4A4F-B3C2-423F64A06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A3D4FCF-30ED-4FA9-84F4-FA76CFC15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C925090-7E83-485B-A56B-9BD90DDAA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0D0467A-F1DF-435C-9579-489B966FE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7932113-D344-484B-A00B-26043778E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D91EDAB-9EFA-42BE-B059-4125FF420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B376087-F5F7-4617-9E35-E5EA88E22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5B8DDE5-7C93-4E27-976C-24D5941A3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32C563C-00F7-4CC4-9694-A7C57C170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B32C856-31E3-4AAF-8837-7425BDD93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9B662A6-DC6F-4F60-8AA2-86E9B7AFB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C6F9FD0-2C1E-4DD1-8C7B-000B265B1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AB9AB4F-7671-4E06-B44C-5E881358D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7D59066-D32C-44D5-8DB8-E15389AA7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9F19524-C50D-416A-8829-E66FDF05B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830A9B6-C0A3-4C08-B880-F67BBA21D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4F20574-B92A-4664-B2BE-E3BD96648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F133710-A9D4-4437-918B-D56C90978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1C2B531-1784-4135-89D0-4F5B51368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018664D-37BA-434A-9FD9-625538563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0B35E79-C4EB-4234-812F-903FE913E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44F3031-2072-4842-A3E6-CFB858819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8EA5E83-0180-4FFA-B26B-15F0FA901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2947DBE-E8F5-4420-8E0D-B38771AE6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97109E4-E1C6-409D-9494-66F5A5783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1C88C43-D44B-436B-90E0-CFEE7B812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0A3582E-A2D3-45BD-9299-DD8BB4F15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295BE7B-546B-4938-9E38-D240B9253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EA42CD4-F729-456B-AA9F-32482B06C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C3F2D21-B70B-4098-9881-B1D0FA6B4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E3E052A-D294-4F0F-A540-69BBF75B4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6D84BE8-A77F-40C8-AA6D-166898478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C99D19-C489-42CB-9E16-CD42BC26B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AC761C3-680E-44DE-B227-22695F4FC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3632444-227D-402A-B7E2-39E19385B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498D0A4-B9A7-4F86-B634-43913E3B2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B505050-C7EC-4953-9CC4-CABCA6099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43F7F9-2B8B-4245-9476-CAECBDD95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27D6B61-50D6-4097-A982-5D6D0A950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AEA94EC-8379-4740-92A3-318B2BF67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8C2DB96-8EB0-4E99-88D7-03A73E68F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2829FB-C43F-4F6B-B4D0-A4A90F4AE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900C4CC-9268-4386-8CE1-2F1F6EF1F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3E71964-3A01-48F1-9B0A-45BB4194C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8030F29-F882-4E73-96D0-0FFD55FF4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320F97E-D3B1-467F-86D2-9D0DEE5C2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6D036D7-EA8A-4EA8-959A-AC06C4ADF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2623565-6884-46CC-B806-DAFC6A5DE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7AD270B-32EB-4F3C-B134-687B1C5E8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81DF325-8EEE-41D5-BCEF-1BFEFFEC7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81162F1-1C2F-4ED1-A312-BAA4F22AD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598AFBF-38DC-4E75-8AAC-CCD507614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628FF5E-67EB-43F4-937A-A2B09AFF3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F63CA42-E42F-4602-AD05-09779B507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3784568-01E9-4E21-A5D2-3EFC86334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4887082-A4A8-4ED1-B7DB-B9CC2F249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E1970F8-565A-4A00-A891-F3C7CB8FF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90338DB-B601-4FC6-8F2A-249EE3253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64EBCF6-8692-4ADE-AC03-E12CE86DC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986A445-C768-4534-9379-9B34CF496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27CB445-F736-42F4-A605-438203F60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3F42D3C-1827-4CDE-9906-95960E6F7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AE81366-5ACA-40E6-B76C-3B8165A6B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5A50A8E-64CC-405C-B1A1-258BF0CFE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1E8EC52-755C-4EE4-B771-43B568F07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5C3757D-87E4-4A35-AE40-5FC0FAA76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F539B6D-E1ED-4FB5-8616-3039F329C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B7E1A7D-0489-4C8B-B9E2-E25E8155B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65C066E-0CED-4701-9093-F3875B4C9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1D2C261-6526-46C1-9C52-5F1843F71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6E87BD4-E3FD-4A86-B554-473404C94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93C579C-3634-4E6A-8B88-F1AF6AC45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D95A214-A5C0-409A-AEDF-C3D87C98D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94BD706-0B07-4D77-A63B-6A0131400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A224FD9-8BCF-4DCB-BD39-00375D76F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4543696-55CB-4A74-BC17-ED0914056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F9785B5-B351-49E2-8044-06B140E97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561098D-DEB0-4BB8-844A-44F2F7814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15F9BC0-8428-4143-AFA7-3F695DD59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8603AA8-2734-42CE-A458-C67C80476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059A2F0-421B-4499-9545-E8E9FC438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D6E7237-91F4-41D8-B854-A58467B61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BEFD7DA-FFB2-475E-8C59-5BC656EC4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614D024-8510-400D-AD61-8CE83527A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B3168D2-573D-4DBF-9A14-971E1B52F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1EFF3EB-DEAB-454B-A0A3-EF51192D7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61349E0-1D29-4323-8E05-D76B05BA6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285B351-D6DF-4897-88B7-3A45FF87E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9AB2DBF-1CA3-4598-B688-DC7797F83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F80D6AF-F33C-45E7-AA8F-F16B2AA00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F21C26-3F40-42F8-81FD-599D0B4E7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0127B8E-3CE0-41BB-BA6A-E2E49BB93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D4E7DD-C73B-42BD-88B2-8CD5A4CDA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8FAEE85-FCE4-4D1B-B244-D800A8A43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089E72C-9B9B-4811-8E22-511CEDAEF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254EA8D-887B-4271-BEBA-16989A7EA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3258FD3-4D85-411F-9914-0FC62066E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FC447CE-3830-42FF-9D8F-E9CF2ECAD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5F63AED-D402-4D90-A2E1-CF0C54FD4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D46F8B7-F360-4119-901E-6A03E8886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41CC24A-2139-4B9E-A63C-BC9A4BF50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D8DF323-265A-45CE-85C9-3C92EE5FE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ED2BAFE-1539-43CF-BAC5-13E37F722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1FEA84E-8788-48F6-97DE-8B5232F5C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CD4BD59-8C6D-47DB-AB70-DEAD3A1F6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FDEF472-359E-40F9-9B82-A9FAA83F1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9F3390C-56F8-40AA-83B8-89C142F51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C60B7DB-AFB3-45D2-A9D3-B4898646C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0B0A2EA-F3C9-4EA4-8120-9B67BDB5B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8480BEA-6817-4B60-937A-AACBA64EA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E238000-E2AB-4711-88B7-2B63904E6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8C7DED5-EC91-4A23-8ED7-8E171BC56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92CD2AA-9DE8-4057-BA8E-7A3EE342A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90D355D-A907-41D1-8DB2-712FC44BC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F4EB03C-2642-413D-B7FE-485ECECAF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B20FC53-B514-492B-96AE-58B4A812C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D1AAC7E-1122-4D74-B4BD-4314D1154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261C078-D8E1-4CD9-90BA-AC6D0DB00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1998F91-47E3-4D23-A86B-83E3805D7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BA4F792-C063-4942-BF72-4A489E294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C1510C7-ED8C-42B4-978A-75A12A435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E3B2FA8-33F6-4933-838E-AEE3FDD5F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B21A159-A87A-43F4-8D86-70B2810E8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FFE3DA2-83B5-4AB0-BB3A-C5B56925B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C57AF1C-59B2-4710-B4D1-4E8F518D5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05762BC-8007-4F3E-A4A1-14F2AEDF7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DE12A57-9C07-4EE8-B184-D8EDCF321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939C58C-0006-40E3-BE6F-C6CEDAE76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D7D9FAB-A8C9-42F2-8F28-316B1D8DC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49D4A4A-5075-4149-8BDA-3C25201BD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E2ABCB2-E667-46E6-B344-0826D0AC7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0C8DC57-4019-43F1-8312-164FB9D51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87D570D-06AE-4BA9-B110-C48837A7A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ED9AF4C-F6CD-4B1F-B65F-653CC39B5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DC368A0-E1C6-4619-A169-958A09BBF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25726C7-A9E3-4467-BBB9-40CF10613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806FF28-5C03-4809-9A4F-790E92AF4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BED81F9-6748-4C26-B9B5-2E65368E7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5F1CC10-7890-4E66-ACD6-5543C86C4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22E7F1D-C4A0-49A8-BDDF-5A4B0EC63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6BBF509-5F37-43D4-945D-F4F202D7C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5ED0B31-BFFB-4CFA-B6E9-8E6D07430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E072B79-2A78-4899-89E4-93C1C5C17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BDAA642-0783-4151-85FD-BFCEE5859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177E971-BDC4-42B6-A2D4-E871329CE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3426E08-9093-407D-BB7E-0794CEB00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5E86180-6258-424B-A4E7-35C0F15E6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33DDC1B-47BF-4B98-87D1-4FB5BE109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728DE53-AFB1-4070-B309-15395B223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858DDAD-CE33-443E-8140-141E6C5AA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C85547C-E4C9-4299-A64D-046073041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0DB43FB-D1AC-4396-A3ED-8A559460D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CE7303C-AB14-4A1A-A1EA-94796B4C9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607BD38-FF35-411A-92B3-25C18DF2A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4AD0196-111E-46D8-B52F-96A6A7AEA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829D86A-415C-4ADE-A6E3-541647BF2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1ACBB8B-2876-4DE9-8B9D-3FEBB8F6B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2DB0B6D-E884-4E5E-AD96-80053DBE2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CBD0A4A-2B3B-46D5-93AA-596BFD13F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1622CB3-ECF6-4374-B659-9BD28884B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09ABF4B-407A-4A86-876A-8EAB7594D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C616555-8BB0-49C6-9A9B-1E01EFB28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C0C5D91-026E-438E-AD5B-E85011260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6D74699-D51D-42B8-8E1D-DF1FDB66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5E59EB3-15E7-498F-B3EF-3C238B1B1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4FD4752-6445-467E-9B84-9DEE567B3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3BE9E5E-1A83-49CD-AC1C-51A4D0342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0ACF307-93E9-478C-9CCD-5CD682479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DAB9571-0DE8-412D-94A1-C413002C9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09674C0-5807-4825-B1CE-74589A791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C28BF8E-BECD-4D46-AB7D-FE83CB78D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212FFBF-4985-4C26-969E-F16836923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ED684CA-2943-4BF5-91EF-48D82E8DD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042A63F-6CB8-4C51-918F-B7BF5B7D2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A25E778-92DF-4460-88B0-D4DC5260E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46C36D2-FDC7-4944-B2AD-D03C3A592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3BC72C6-C1CF-40F5-8CD5-0B01B0FEF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97E0224-25FA-4A76-8DBA-06DD26485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B486358-8818-4168-BC98-D33D73CE9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E8DFE7F-F1D6-48FE-ACA9-3C01320D6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336260C-C3C5-4DC1-A06C-770B73939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ADF4D5F-263A-469D-9B29-0C4248779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DDBB3E5-C722-4499-8091-40F144E02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9F4CB83-1315-4404-96AA-970F769EC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C9FD87B-7A58-421E-8F6B-21A263FBF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EE78811-D600-4055-AE3A-28EEFB047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6407C0C-8657-445E-B2C5-6F0DA3FC1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C171731-7FD1-4E3C-9120-8C8F8FB7D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4B8FF61-2CFB-4C20-B893-533912763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A7ACB18-A867-45E3-BEB0-3EA5A4894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CDFA37E-22E6-404C-B6DB-97C8F20F4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2868C91-5E2F-4FC3-BDD7-4312F5FF0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0989160-5609-4F38-BD2A-5B59480B3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73948B2-76C9-4A69-82D9-658B739D5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343ABA9-42FC-4391-8FCC-CCF77C77B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B43D02E-653C-40A1-89D9-391B07396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EB79241-A74B-4AA2-A9A6-94F05EE0F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78B6E8B-4CF0-4718-BDFD-050C7EA11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F259454-5FD2-42C4-97FA-BA759D306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E58951E-761F-4E6E-977F-8DE73DB02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EB0DDE0-87D7-4789-B3E4-9246A14E6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75A705B-27B2-48A4-AEDD-DFCADB950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696C30A-A687-4AE6-B790-96787B125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D86848-BAC1-4A18-B4B5-28EFDF468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0E37011-B0E0-422F-A468-693BF3277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86D1150-2B36-4E91-BD14-790910C7C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CE0CC21-467C-4070-B6FA-C9AC10164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68F3F92-F593-4613-AC99-F25B53F9C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6C4A3BB-C2FC-4C1D-9185-6EFDBDE57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A2A6C50-4F00-4E64-A830-AA5DB44A2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FFCA686-1AE2-4039-A924-4006DABFE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CD76209-57E3-45EE-BDF4-266E5EE33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CD79CD4-759C-47A4-8F15-9C3648D30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DF2003A-C410-4A60-81AB-64383BE19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B35143A-D13A-4018-AE2D-4C63B75D9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CE11BCF-850C-4033-BE80-46F03AD1A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433CC43-73FC-4057-A86A-449009799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3350B6B-A391-4234-B56D-DBA5F9B9E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D48F0C0-C10D-47AB-8A5E-67767A99C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E3E2046-360C-44E8-BF5E-13B55435D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748835F-504F-42DA-85A3-13BEB6202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28D96DD-62CD-4DD1-BA62-431A9443A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780FB2F-CFAD-4E90-BB22-CBC9C1030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F404C26-058D-44FA-A6E8-8CB01505B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917580A-2BB2-48A5-BCF2-F6D9A2117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387FEB4-9DF6-44C1-A1C1-03B572F5D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1234402-0DBA-4E59-B155-E288C7E77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199BF71-9666-4DA7-AE21-C75B03305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1B23A81-CFD2-40DA-A03C-1A2057AE7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9D14906-1BCD-4969-91E2-2E0B0DE07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79803DD-68AC-482E-AE54-CB6E88A97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7CBE646-9074-4DDC-87A5-C5EE85551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32FB8FB-7D89-430F-8567-FA7601917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BF097EC-E70E-49B0-B83B-92D1DEBE7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9F5B5D0-9BD1-4601-8EC1-39F913556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0F5E6BD-F96C-4760-8FF0-0E98E8B90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B76B6E2-67CC-4D08-8646-54D8CB594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6B1CF00-7365-4E6E-9D07-F30952A9D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E3B690E-EF60-4DF0-8B7A-17C0B5608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D1DBE88-8205-40FD-A090-D58B18D52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AD1AE67-7E38-444D-85C8-05E4FDECD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D90DFEF-E839-4873-A62D-75DB59FAB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0D15B25-4296-4098-9CBE-40F2363A0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B88C778-D42E-483E-A15C-3467608A6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CF6A832-0BB3-4C7A-9FF9-EB0F3623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E856FF7-9290-44B0-ADCF-826970C4E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2AF48BB-3698-426A-94BC-520485983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50D3CBD-F670-4416-8873-9F3FF8208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F06E8D0-6A4A-4ED3-B9DC-F02A7FB1E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91F041D-7768-49EE-A779-4D92393C5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27A3CA0-0F6B-4717-BDC0-942A5DF20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D887E92-3F5B-40BA-AEEA-16CD529EC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5D2D48B-AD3E-4CED-9671-D6C3C4921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29054C9-5D8F-421E-807F-AE59D9004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88F5DCC-B1D2-4312-91E4-13B30409E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B4DEA8B-4917-4520-B1E5-9E4D2BBCB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261FDBD-E78F-4EA9-A6A7-A3978235B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E94C02B-624F-4D25-86C8-A48F14ECB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7E0ADEA-6E8B-4F29-A870-8C43F9DB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FFC1000-25C5-4B4B-BBF9-7DF1AAD1D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A5FF86A-34DA-4F58-8AEC-C5320BED9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59ECDC5-22FD-4C45-B377-A70687F86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353A04A-C235-4F0B-9972-F15CE8F20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B2E5602-7160-4A2E-874C-A23DD429A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3C937D3-5D3E-4250-8546-56E34DF7D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4941388-8FDF-4A41-9E05-9F25C1A21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B921006-1A63-4F85-A8C7-6417E6350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8244FC9-C93C-4CB9-A26C-175EC0CD6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11E5CA1-22C6-4204-94E1-6E4E50064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23EAAD9-23DF-4E2C-8A7B-159586CC4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5849D47-9221-4804-BD38-234E0DBE6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EEAC00E-2B1C-4E1C-8A1F-157CB703C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F4855A9-CEC8-4A20-86CF-6679041CF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71F9DE8-8A67-41F2-8F39-D33DF8240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0616C7A-9095-4E74-B72B-88075DF0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5A725E2-2FDB-452F-8DF3-3798D5F99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D1C0400-011C-4A3F-AB61-CEFB652C4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D6B4178-B4FC-4FE2-B81C-469638B7C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EBFA842-D160-4627-9533-18EC1B041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A31BEC8-246A-44C1-87AA-3AF113236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D442353-E170-4FF0-B110-919C352A0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4D455DD-F878-4ADC-AA62-FC30F6EC8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8B99F41-76FB-42D1-ABB4-07442E3F6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19A6AAA-554E-4BD9-93AD-C416DE995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66E9D5C-D2EA-4C40-948F-2FB4C2E08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EAA996E-648D-4784-9A13-EF64C4A57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FA840DF-410C-457C-9579-8DBA1BD6B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1EDBBD5-F743-47FF-ABA6-1B1F9C3B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0EFEB38-793E-4F40-ABCD-5BECEFFD0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7AC3D3E-E6CB-42CE-B431-04D588BA5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C30B3B1-7CDB-4283-9FDB-4D54F54A4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32A6680-8DE6-450F-9CEC-42028A27C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E62656D-F2F0-4306-AF2A-AAAD349E8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6227FCF-9CF7-48C6-B5E1-F031CACE7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957A85A-9628-453C-814F-1BBE84387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00C5B7B-20D7-428E-8A4A-3748FDACF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C1E1059-9479-4735-A758-B252ABF08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41AE5A4-6509-4E05-AAED-5BDC1F649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6724026-4D9D-4285-9E76-DD0B5256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D135437-D6BB-4937-AB0A-8C1BA57CF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F55C175-49F7-44F4-B663-54A3B45E1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F0E363C-E2A8-441E-BD91-D75815DF3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CA452A8-A3B4-44E8-A36E-0E7CBD14A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125D218-2FB1-4E91-A3BC-5E2B42117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5344869-AFA4-46A1-9555-E66B1A59A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1105206-ACE8-44DE-95C6-009211444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B9E0410-8376-4A0D-8A98-49A4CFA44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099DA3E-A7BF-433C-8B2D-0881BDD53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DD9D401-221A-4647-BB1F-DF50E9827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B49A60E-7B4A-48D4-9F26-004E821F5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B61FE2A-9533-4D14-B3B6-3D2E5165F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AFA4CE2-480E-4539-9CCB-09969A801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D5FADEB-E32C-4290-955A-EDD70A2B3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9A248E4-BA4E-4E77-ABDB-58C1DF267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A5ABDC2-0354-43ED-AA9A-04FC7CFA0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E645A57-040F-4FC8-A2C5-CC9E98AE8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B41D780-B3C3-458F-B8F2-AA94CBC0E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06EDE8-1226-457F-B2DE-92780B74E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F10ACE-962E-47A6-B0ED-4EAA66208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CBDBE4E-D6F0-4DD9-92CD-ACC877C7A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DD3874E-70C7-44F1-976E-2406F8367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C7DB632-CCDC-4106-8C2E-4354E14D5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E33EE57-6FEC-443B-9323-AAACCD304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448A0F8-A8AB-46DC-B52E-C56D59C9B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F15B8B1-17FC-435B-801E-3A3891C85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4AF7E69-7BC5-4CDD-816B-257F7AD1E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92B1241-944A-4A4B-890E-403E52326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2874534-8FAE-49DD-9DEB-5124F0100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42E5D6E-5183-46C7-A28C-B6508FC1D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5E3493E-C32B-4A53-869B-011331FA3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552F215-C083-43B2-BFA9-FC616AD84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92497FB-3004-4634-B75F-2280CA2C5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B57C7BF-0606-4683-917A-80E1E7583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608DEC0-C80E-451D-8A9B-15AE4173E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B82C030-61DB-4D56-9AB9-4B2E79537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E9EA1A7-7A71-404C-AA02-DF84AD4BF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B6F6501-3165-4632-A4B5-E1B66DB83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FA49DEF-69F3-4C4C-B8DF-CE5339946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AABCF00-86E3-4EDB-BB0F-29E9E69AD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AE6BE6A-BC94-454A-833C-4C127D762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5505664-6DFE-42A5-8A80-6479E80F9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4DD675B-C132-495E-91ED-EC76801AB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52DCDCE-62EB-4C2B-8924-EA3043A4E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86B9257-A9CF-4A1E-8CCE-FCBFE6217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9ECC284-9253-490B-9429-EA42AA821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02487AB-F17B-4FA2-965D-8869059F4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C7B98E2-E8BE-4A4D-9A3C-DCC2BEE34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6B51A67-036E-46A0-9CB7-89F127E5A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8397F52-3D58-4F6E-8D3F-F0A95569A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417BAD3-3D1E-4F48-BD07-755A6DD3E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66016B1-6091-4D8A-94E3-3817C97C6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D5423E6-1D74-44EF-A87E-AF03F278B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1CDF77B-9FFC-4EDB-A6BB-F6415BF6C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D003281-318D-445A-9124-5783DC19D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0FCF614-6482-4AD1-A763-604C1CF52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D5D10AC-71B6-40A7-8A11-E014CAD23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387CF7D-8FCC-497D-B4AA-057B1489C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F431458-F3B9-4CC3-8FE8-703BC2691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FDF04F7-E34C-459E-94EF-264379DDD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FEDA2F5-5075-40F9-B58E-4B46BAA78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3A7F0FF-333A-4870-84D5-18256975B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F0D5574-CAF9-4DF5-957D-133BEBDD2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A5F5883-93B4-4386-9C6B-8874C3F46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010D6A1-78E7-4F4D-9E59-1B54F7561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AF6704B-3147-471E-A389-C4C94F698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B504CEA-3276-459A-9E2B-9AF4DB645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7CE8BF3-AAE4-41C4-92E3-22F7F2147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A115EE4-2579-4EB3-B986-67292129B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7711A27-BD4F-40FB-8B55-BA06E49D3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80825A0-04E9-42D0-8B3D-E89F02A7F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EDC3532-D2A5-4CFE-B003-5142C947C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642B816-5C55-493B-AD37-BAA558988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37A9B1A-56E6-4FD0-A051-915534C18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A817BE9-3E89-44A7-B2FC-520C13B3C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E1EC67-D36E-4C3E-B7C5-374F6F239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261DE9-6D95-4B23-9059-F8F489C7B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5932926-C321-4BC6-AB77-8E5507362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8A81292-361A-4DB5-9ED7-968BDEB6B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674C60F-4A27-437E-8766-D7F1FA9B0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C8B8D9D-CB62-4283-9E00-B1C23B052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C072698-3E4B-4EC3-8CFB-F5BD8BEA0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07EF906-DC00-41F1-AA11-A53270D87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6E496A1-8E59-4AB4-A41D-A859C2D7D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5D98D28-A9A9-4AF5-BC63-3C2DBBEEA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E8F36E7-9857-4F9C-8DC3-73CED90EF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4539907-C019-4C21-BA95-B9D365418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34FDF9C-8FA9-424C-9D4F-36E754359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1D4ECCB-73B7-4C23-8FA4-DE4D19650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EA65F24-061E-4B4D-A6B2-4756EB398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0CA300B-E07F-414B-B8BE-D2470EBB9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B7F0C95-E561-45F7-8308-274B5B616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A3E1AAD-3E0C-42D5-9576-2C52A9C25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A05B0B3-8E79-4164-871F-1BB6ADB88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7CB9AEF-7CEE-44FE-A624-CCDA315CA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29126A8-DC56-49A5-B380-6E731E756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B3E2FC8-AB08-441A-8DE5-7289D5750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11C3D08-51E0-4222-93A3-F825156ED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C8743AB-7651-41D0-A21C-CF9A6DC08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B74B556-2352-48AF-9154-26F4D1280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CF8366F-DEA8-41BF-BDE7-6FDEC7098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36AFA66-98C4-4127-BCE8-02F40E7FB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FA08B04-C92C-4EBF-8230-3EB99AF57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AE2A2C0-B9DC-423E-AE50-C3A3AA452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320AC3D-C596-42B6-ACCF-68245979E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6C2BBC4-5955-4A7B-96D4-AF9E036B1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21F2E1D-EA6B-4498-B065-D8B8EBCBC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FE22206-83D9-4D68-8C21-504C7006C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2EC1385-4F18-4E39-82D4-BC504013C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1C4B9A2-891C-471F-9ED3-A1C0A26BE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A13C6B8-EDC6-4189-9427-3AFF257FA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A548E04-D6AD-469E-A4AE-01BFEEBC4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4A5A1F7-A391-4192-97BA-C3E9FC7BC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95A64BB-A335-48FC-A4F2-B6D4B6991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51C6A04-1855-460B-B89D-16B3C9441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879EC6C-6FDF-4F78-AF3F-7F4A7C08F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60E6D3C-7DDB-49CD-9ADE-BB61B9267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6618913-858B-4398-8ADB-08D7F659C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415A5BB-DC5F-4F3E-9C28-6AC4AA43D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252A754-188F-4F16-A6E1-3138BFC98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9A434A7-FBC8-473F-896C-1302AB8FF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1B47901-C14C-4BEE-BCA2-8868E780A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9A31FBE-AEB1-4843-935B-36415166B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D2BC213-C17E-461E-ADA6-FA8E9E75F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8C283F4-E1F0-4F0C-B7BC-E2C26B1E0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D28F3E7-C9FB-41A9-B6E7-1C96FDF89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B2D770F-D481-4934-8490-6E8995D26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513E563-8992-4A4A-94E1-2C36DB276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46D6E33-1F66-4F1D-8131-5855A66B9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87A43FC-5C1D-48F2-BB7E-58453562C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9AF1AE4-418E-437F-ACB9-56A099007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C4AF09C-1AC2-4059-8468-F97C1FFCF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8399772-8807-4649-95C0-253DCAE15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2BC634F-847B-4815-A87A-218220BE6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16C0080-9652-4BC5-8A42-A7B7638C4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BC7AA0F-2B9E-4E80-A37E-2B06DE0E6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63434EF-EE4D-425C-9C77-567C493EB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0BC28FC-D0A4-403E-92E5-C1F32BF3A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7DEB7D5-7072-42D3-9A31-97CD0A834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1D07DE4-0D90-4CD2-8FB2-C1E9D25D7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8B777E0-5F6D-44DE-93FF-7B6A1D7DE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F1D29E-1950-4607-BA46-87060E7D9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35DC1FA-45DB-4669-851E-DCC6400CC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53E1505-0D62-453E-BBF8-29C98E972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7DBB0D5-E6BA-4607-84EA-685A87035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32AA31B-6AAB-479A-AB57-D74484F05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12F5AF8-B709-407F-B476-AB2077439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FF058F1-8FF3-4B59-B2C0-67A7803EF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B7427A1-276A-46C7-B990-E3F63BE22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99B6030-34F2-4A97-A372-B46C383A9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C25EA42-E60C-493D-9716-7D66A7D80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762EA2E-52AA-4A41-8E08-B98EDED70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B52FF41-5308-4E19-BC40-D9919AC94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05247D5-71DF-4067-8C5A-C0FB1557E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5FD699C-C17A-494A-8C56-0A46C2C94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81BAF46-379D-43E3-8993-E9546AAE5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C44D06D-E017-4466-B2B5-C67A8559E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2069747-EDAF-4E9A-9811-C6AB32F4D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F1C7E39-07B7-458A-A5A4-E87B54811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A577DFB-74E8-4A95-B905-1ADDD31CD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B95B99D-F648-4860-8C58-4CC4505E1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50F0276-E0C4-4BCB-A6CB-F7209240B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E8F4DF6-BB5A-4CDD-9D40-3242D0F9A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5B32D5F-FD74-4773-B418-41224879A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9A09334-1BEF-4D06-95F9-18C84E4B1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DA4C422-3591-44FC-8467-2E1477CC6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293DE95-9852-4C7D-A2D6-1890E842F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B6CFDFC-721E-4438-9516-843BBF0CA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4A9CE35-6772-45D4-BB75-1F4F9B95E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C1FA7B7-6440-496D-83DC-BF4FE762B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0C86791-6D5F-4C35-A852-817629DC6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5A0289C-8A9B-4150-8166-564F197DA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0A5EACE-A32C-4AC7-A1F6-9E04B9299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15E7A27-72FC-484A-82D1-B230CEDD4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21BA58F-EC25-40FB-9791-59EB8250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B1E5843-E758-4136-AA74-0E04EEAD4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1884C7D-E4BE-4335-A7CC-7320F6687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E95D972-777A-4C4C-B488-1979211F6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FA96AFE-1F9D-48D2-8121-1B410F365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B8A1203-23F7-4040-BDF5-CD07BB84D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269F64B-6C1E-49BC-B588-B7543A9CD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266482B-ACCE-4D01-92C6-821C1EF75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CF796BC-C4B6-4C2A-99C5-291A33014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1C8C23F-7641-4DDA-AFEF-C8E64C457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71746A5-0883-4FCF-AE0A-9B96B6877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2731A77-BC8D-4DC1-9DA6-A62E6B6E0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073B9AE-69A5-4516-816C-988201162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66.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67.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68.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69.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7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71.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72.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73.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74.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75.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76.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77.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78.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79.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80.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81.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82.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83.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84.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1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1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1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1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1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1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1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33.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notesSlide" Target="../notesSlides/notesSlide34.xml"/><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35.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notesSlide" Target="../notesSlides/notesSlide36.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4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46.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47.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48.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49.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51.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52.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53.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54.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5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56.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57.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58.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59.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6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61.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62.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63.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64.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6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36425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345017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6587200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4233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936743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6524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73384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30308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78313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160892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870922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567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646280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988044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89038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063188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28754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554141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3893918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059156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358576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512878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41131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1322100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7238955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5219240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6835888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51448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67155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2848355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8252701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421729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2565162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278758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494502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3742198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291948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5924023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4157967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3327820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364327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482291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4138723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2252229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37347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770483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1449421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471611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234357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5806187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2823857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5742220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485986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6982218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4837852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20002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5707349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5454376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228387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9964860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616859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7286902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6089429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869516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75443219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01629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83657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07097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90812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38627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256321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06012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34272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64486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44503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95740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6143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56937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553309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610096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92778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127104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861658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08359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385100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635323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067799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639479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148424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21903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487307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74753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346109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7529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175291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21960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571382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569922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849845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58233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955991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097159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8000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454128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916240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183427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123901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99669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406002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103476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304245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389937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03462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3477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06553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918419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09118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66763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08724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435760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101432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59581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241294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60057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2150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391379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19376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519932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95283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782951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212163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862561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85894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394642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7640157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02580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415688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16575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56684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520719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98298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909553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17944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758385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068877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42005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73590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496270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039438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0503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337083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2170695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49974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94535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88796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4528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278630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325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1</TotalTime>
  <Words>33522</Words>
  <Application>Microsoft Office PowerPoint</Application>
  <PresentationFormat>On-screen Show (16:9)</PresentationFormat>
  <Paragraphs>12308</Paragraphs>
  <Slides>158</Slides>
  <Notes>10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8</vt:i4>
      </vt:variant>
    </vt:vector>
  </HeadingPairs>
  <TitlesOfParts>
    <vt:vector size="16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Mix Matrix (Replace with So What)</vt:lpstr>
      <vt:lpstr>Mix Matrix (Replace with So What)</vt:lpstr>
      <vt:lpstr>Mix Matrix by brand (Replace with So What)</vt:lpstr>
      <vt:lpstr>Mix Matrix by brand (Replace with So What)</vt:lpstr>
      <vt:lpstr>Mix Matrix by brand (Replace with So What)</vt:lpstr>
      <vt:lpstr>Mix Matrix by brand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Aleaa SALAH</cp:lastModifiedBy>
  <cp:revision>54</cp:revision>
  <dcterms:created xsi:type="dcterms:W3CDTF">2024-07-05T15:31:56Z</dcterms:created>
  <dcterms:modified xsi:type="dcterms:W3CDTF">2025-09-15T09:0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